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83" r:id="rId1"/>
    <p:sldMasterId id="2147483684" r:id="rId2"/>
  </p:sldMasterIdLst>
  <p:notesMasterIdLst>
    <p:notesMasterId r:id="rId12"/>
  </p:notesMasterIdLst>
  <p:sldIdLst>
    <p:sldId id="382" r:id="rId3"/>
    <p:sldId id="386" r:id="rId4"/>
    <p:sldId id="291" r:id="rId5"/>
    <p:sldId id="292" r:id="rId6"/>
    <p:sldId id="294" r:id="rId7"/>
    <p:sldId id="397" r:id="rId8"/>
    <p:sldId id="296" r:id="rId9"/>
    <p:sldId id="405" r:id="rId10"/>
    <p:sldId id="399" r:id="rId11"/>
  </p:sldIdLst>
  <p:sldSz cx="9144000" cy="5143500" type="screen16x9"/>
  <p:notesSz cx="6858000" cy="9144000"/>
  <p:custDataLst>
    <p:tags r:id="rId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mani Shariff" initials="" lastIdx="2" clrIdx="0"/>
  <p:cmAuthor id="1" name="EXT Jade Veverka" initials="" lastIdx="2" clrIdx="1"/>
  <p:cmAuthor id="2" name="EXT Edith Wu" initials="" lastIdx="1" clrIdx="2"/>
  <p:cmAuthor id="3" name="Emila Yang" initials="" lastIdx="4" clrIdx="3"/>
  <p:cmAuthor id="4" name="Margaret Szwajkiewicz" initials="" lastIdx="1" clrIdx="4"/>
  <p:cmAuthor id="5" name="David Viljoen" initials="" lastIdx="1" clrIdx="5"/>
  <p:cmAuthor id="6" name="Sophie Tobin" initials="" lastIdx="2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384049"/>
    <a:srgbClr val="233956"/>
    <a:srgbClr val="E05928"/>
    <a:srgbClr val="67988C"/>
    <a:srgbClr val="2C2D5A"/>
    <a:srgbClr val="9BCD6A"/>
    <a:srgbClr val="4A91E2"/>
    <a:srgbClr val="7BB6F9"/>
    <a:srgbClr val="8CC5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C9FB52-9C9F-44D0-9210-D36E35BA88AB}">
  <a:tblStyle styleId="{2DC9FB52-9C9F-44D0-9210-D36E35BA88AB}" styleName="Table_0"/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00" autoAdjust="0"/>
    <p:restoredTop sz="79864" autoAdjust="0"/>
  </p:normalViewPr>
  <p:slideViewPr>
    <p:cSldViewPr snapToGrid="0" snapToObjects="1">
      <p:cViewPr varScale="1">
        <p:scale>
          <a:sx n="129" d="100"/>
          <a:sy n="129" d="100"/>
        </p:scale>
        <p:origin x="132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79" d="100"/>
        <a:sy n="179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" name="Shape 87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871" name="Shape 87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318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" name="Shape 98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7" name="Shape 98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988" name="Shape 98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pPr>
                <a:buClr>
                  <a:srgbClr val="000000"/>
                </a:buClr>
                <a:buSzPct val="25000"/>
                <a:buFont typeface="Arial"/>
                <a:buNone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576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4" name="Shape 108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085" name="Shape 108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086" name="Shape 1086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" name="Shape 110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2" name="Shape 110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103" name="Shape 1103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lvl="0" rt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Shape 113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131" name="Shape 113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endParaRPr lang="en-US" dirty="0"/>
          </a:p>
        </p:txBody>
      </p:sp>
      <p:sp>
        <p:nvSpPr>
          <p:cNvPr id="1132" name="Shape 1132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" name="Shape 11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58" name="Shape 11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159" name="Shape 1159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lvl="0" rt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General DV Cover"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" name="Shape 2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908"/>
            <a:ext cx="9144000" cy="5141700"/>
          </a:xfrm>
          <a:prstGeom prst="rect">
            <a:avLst/>
          </a:prstGeom>
          <a:noFill/>
          <a:ln>
            <a:noFill/>
          </a:ln>
        </p:spPr>
      </p:pic>
      <p:sp>
        <p:nvSpPr>
          <p:cNvPr id="228" name="Shape 228"/>
          <p:cNvSpPr/>
          <p:nvPr/>
        </p:nvSpPr>
        <p:spPr>
          <a:xfrm>
            <a:off x="0" y="4510851"/>
            <a:ext cx="9144000" cy="6522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9" name="Shape 229"/>
          <p:cNvSpPr/>
          <p:nvPr/>
        </p:nvSpPr>
        <p:spPr>
          <a:xfrm>
            <a:off x="6224587" y="4710866"/>
            <a:ext cx="2919300" cy="2463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0" name="Shape 230"/>
          <p:cNvGrpSpPr/>
          <p:nvPr/>
        </p:nvGrpSpPr>
        <p:grpSpPr>
          <a:xfrm>
            <a:off x="6043863" y="4510851"/>
            <a:ext cx="1558485" cy="549300"/>
            <a:chOff x="4887571" y="4529180"/>
            <a:chExt cx="1558485" cy="549300"/>
          </a:xfrm>
        </p:grpSpPr>
        <p:cxnSp>
          <p:nvCxnSpPr>
            <p:cNvPr id="231" name="Shape 231"/>
            <p:cNvCxnSpPr/>
            <p:nvPr/>
          </p:nvCxnSpPr>
          <p:spPr>
            <a:xfrm flipH="1">
              <a:off x="5023632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32" name="Shape 232"/>
            <p:cNvCxnSpPr/>
            <p:nvPr/>
          </p:nvCxnSpPr>
          <p:spPr>
            <a:xfrm flipH="1">
              <a:off x="5125233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33" name="Shape 233"/>
            <p:cNvCxnSpPr/>
            <p:nvPr/>
          </p:nvCxnSpPr>
          <p:spPr>
            <a:xfrm flipH="1">
              <a:off x="5226835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34" name="Shape 234"/>
            <p:cNvCxnSpPr/>
            <p:nvPr/>
          </p:nvCxnSpPr>
          <p:spPr>
            <a:xfrm flipH="1">
              <a:off x="5328437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35" name="Shape 235"/>
            <p:cNvCxnSpPr/>
            <p:nvPr/>
          </p:nvCxnSpPr>
          <p:spPr>
            <a:xfrm flipH="1">
              <a:off x="5430039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36" name="Shape 236"/>
            <p:cNvCxnSpPr/>
            <p:nvPr/>
          </p:nvCxnSpPr>
          <p:spPr>
            <a:xfrm flipH="1">
              <a:off x="5531642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37" name="Shape 237"/>
            <p:cNvCxnSpPr/>
            <p:nvPr/>
          </p:nvCxnSpPr>
          <p:spPr>
            <a:xfrm flipH="1">
              <a:off x="5633244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38" name="Shape 238"/>
            <p:cNvCxnSpPr/>
            <p:nvPr/>
          </p:nvCxnSpPr>
          <p:spPr>
            <a:xfrm flipH="1">
              <a:off x="5734846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239" name="Shape 239"/>
            <p:cNvSpPr/>
            <p:nvPr/>
          </p:nvSpPr>
          <p:spPr>
            <a:xfrm rot="2120927">
              <a:off x="5003894" y="4560808"/>
              <a:ext cx="264453" cy="48604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240" name="Shape 240"/>
            <p:cNvCxnSpPr/>
            <p:nvPr/>
          </p:nvCxnSpPr>
          <p:spPr>
            <a:xfrm flipH="1">
              <a:off x="5836448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41" name="Shape 241"/>
            <p:cNvCxnSpPr/>
            <p:nvPr/>
          </p:nvCxnSpPr>
          <p:spPr>
            <a:xfrm flipH="1">
              <a:off x="5938050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42" name="Shape 242"/>
            <p:cNvCxnSpPr/>
            <p:nvPr/>
          </p:nvCxnSpPr>
          <p:spPr>
            <a:xfrm flipH="1">
              <a:off x="6039651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43" name="Shape 243"/>
            <p:cNvCxnSpPr/>
            <p:nvPr/>
          </p:nvCxnSpPr>
          <p:spPr>
            <a:xfrm flipH="1">
              <a:off x="6141257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244" name="Shape 244"/>
          <p:cNvGrpSpPr/>
          <p:nvPr/>
        </p:nvGrpSpPr>
        <p:grpSpPr>
          <a:xfrm>
            <a:off x="341515" y="4610859"/>
            <a:ext cx="845767" cy="446188"/>
            <a:chOff x="17463" y="1128712"/>
            <a:chExt cx="10080662" cy="5318100"/>
          </a:xfrm>
        </p:grpSpPr>
        <p:sp>
          <p:nvSpPr>
            <p:cNvPr id="245" name="Shape 245"/>
            <p:cNvSpPr/>
            <p:nvPr/>
          </p:nvSpPr>
          <p:spPr>
            <a:xfrm>
              <a:off x="17463" y="1128712"/>
              <a:ext cx="4603800" cy="53181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90" y="18230"/>
                  </a:moveTo>
                  <a:lnTo>
                    <a:pt x="119990" y="18230"/>
                  </a:lnTo>
                  <a:cubicBezTo>
                    <a:pt x="119990" y="17174"/>
                    <a:pt x="118996" y="16239"/>
                    <a:pt x="117766" y="16239"/>
                  </a:cubicBezTo>
                  <a:cubicBezTo>
                    <a:pt x="117156" y="16239"/>
                    <a:pt x="116622" y="16443"/>
                    <a:pt x="116237" y="16776"/>
                  </a:cubicBezTo>
                  <a:lnTo>
                    <a:pt x="116237" y="16776"/>
                  </a:lnTo>
                  <a:cubicBezTo>
                    <a:pt x="108730" y="22471"/>
                    <a:pt x="108730" y="22471"/>
                    <a:pt x="108730" y="22471"/>
                  </a:cubicBezTo>
                  <a:lnTo>
                    <a:pt x="108730" y="22471"/>
                  </a:lnTo>
                  <a:cubicBezTo>
                    <a:pt x="108730" y="22544"/>
                    <a:pt x="108655" y="22609"/>
                    <a:pt x="108580" y="22674"/>
                  </a:cubicBezTo>
                  <a:cubicBezTo>
                    <a:pt x="108196" y="22942"/>
                    <a:pt x="107661" y="23072"/>
                    <a:pt x="107201" y="23072"/>
                  </a:cubicBezTo>
                  <a:cubicBezTo>
                    <a:pt x="106816" y="23072"/>
                    <a:pt x="106432" y="23007"/>
                    <a:pt x="106131" y="22869"/>
                  </a:cubicBezTo>
                  <a:cubicBezTo>
                    <a:pt x="106056" y="22804"/>
                    <a:pt x="105981" y="22804"/>
                    <a:pt x="105981" y="22739"/>
                  </a:cubicBezTo>
                  <a:cubicBezTo>
                    <a:pt x="105672" y="22609"/>
                    <a:pt x="105672" y="22609"/>
                    <a:pt x="105672" y="22609"/>
                  </a:cubicBezTo>
                  <a:cubicBezTo>
                    <a:pt x="61262" y="333"/>
                    <a:pt x="61262" y="333"/>
                    <a:pt x="61262" y="333"/>
                  </a:cubicBezTo>
                  <a:cubicBezTo>
                    <a:pt x="61186" y="268"/>
                    <a:pt x="61186" y="268"/>
                    <a:pt x="61186" y="268"/>
                  </a:cubicBezTo>
                  <a:lnTo>
                    <a:pt x="61186" y="268"/>
                  </a:lnTo>
                  <a:cubicBezTo>
                    <a:pt x="60877" y="129"/>
                    <a:pt x="60492" y="0"/>
                    <a:pt x="60107" y="0"/>
                  </a:cubicBezTo>
                  <a:cubicBezTo>
                    <a:pt x="59648" y="0"/>
                    <a:pt x="59263" y="129"/>
                    <a:pt x="58888" y="333"/>
                  </a:cubicBezTo>
                  <a:cubicBezTo>
                    <a:pt x="58888" y="268"/>
                    <a:pt x="58888" y="268"/>
                    <a:pt x="58888" y="268"/>
                  </a:cubicBezTo>
                  <a:cubicBezTo>
                    <a:pt x="1229" y="29303"/>
                    <a:pt x="1229" y="29303"/>
                    <a:pt x="1229" y="29303"/>
                  </a:cubicBezTo>
                  <a:cubicBezTo>
                    <a:pt x="1144" y="29303"/>
                    <a:pt x="1144" y="29368"/>
                    <a:pt x="1069" y="29368"/>
                  </a:cubicBezTo>
                  <a:cubicBezTo>
                    <a:pt x="459" y="29701"/>
                    <a:pt x="0" y="30367"/>
                    <a:pt x="0" y="31025"/>
                  </a:cubicBezTo>
                  <a:cubicBezTo>
                    <a:pt x="0" y="101688"/>
                    <a:pt x="0" y="101688"/>
                    <a:pt x="0" y="101688"/>
                  </a:cubicBezTo>
                  <a:cubicBezTo>
                    <a:pt x="0" y="102817"/>
                    <a:pt x="994" y="103678"/>
                    <a:pt x="2298" y="103678"/>
                  </a:cubicBezTo>
                  <a:cubicBezTo>
                    <a:pt x="2833" y="103678"/>
                    <a:pt x="3293" y="103483"/>
                    <a:pt x="3753" y="103215"/>
                  </a:cubicBezTo>
                  <a:cubicBezTo>
                    <a:pt x="3828" y="103150"/>
                    <a:pt x="3828" y="103150"/>
                    <a:pt x="3828" y="103150"/>
                  </a:cubicBezTo>
                  <a:cubicBezTo>
                    <a:pt x="11334" y="97382"/>
                    <a:pt x="11334" y="97382"/>
                    <a:pt x="11334" y="97382"/>
                  </a:cubicBezTo>
                  <a:lnTo>
                    <a:pt x="11334" y="97382"/>
                  </a:lnTo>
                  <a:cubicBezTo>
                    <a:pt x="11719" y="97049"/>
                    <a:pt x="12254" y="96854"/>
                    <a:pt x="12864" y="96854"/>
                  </a:cubicBezTo>
                  <a:cubicBezTo>
                    <a:pt x="13248" y="96854"/>
                    <a:pt x="13549" y="96984"/>
                    <a:pt x="13933" y="97114"/>
                  </a:cubicBezTo>
                  <a:cubicBezTo>
                    <a:pt x="13933" y="97114"/>
                    <a:pt x="14008" y="97114"/>
                    <a:pt x="14008" y="97179"/>
                  </a:cubicBezTo>
                  <a:lnTo>
                    <a:pt x="14008" y="97179"/>
                  </a:lnTo>
                  <a:cubicBezTo>
                    <a:pt x="14393" y="97317"/>
                    <a:pt x="14393" y="97317"/>
                    <a:pt x="14393" y="97317"/>
                  </a:cubicBezTo>
                  <a:cubicBezTo>
                    <a:pt x="58888" y="119723"/>
                    <a:pt x="58888" y="119723"/>
                    <a:pt x="58888" y="119723"/>
                  </a:cubicBezTo>
                  <a:cubicBezTo>
                    <a:pt x="59038" y="119788"/>
                    <a:pt x="59038" y="119788"/>
                    <a:pt x="59038" y="119788"/>
                  </a:cubicBezTo>
                  <a:lnTo>
                    <a:pt x="59038" y="119788"/>
                  </a:lnTo>
                  <a:cubicBezTo>
                    <a:pt x="59347" y="119918"/>
                    <a:pt x="59723" y="119991"/>
                    <a:pt x="60107" y="119991"/>
                  </a:cubicBezTo>
                  <a:cubicBezTo>
                    <a:pt x="60417" y="119991"/>
                    <a:pt x="60802" y="119918"/>
                    <a:pt x="61027" y="119853"/>
                  </a:cubicBezTo>
                  <a:cubicBezTo>
                    <a:pt x="61027" y="119853"/>
                    <a:pt x="61102" y="119853"/>
                    <a:pt x="61102" y="119788"/>
                  </a:cubicBezTo>
                  <a:cubicBezTo>
                    <a:pt x="61337" y="119658"/>
                    <a:pt x="61337" y="119658"/>
                    <a:pt x="61337" y="119658"/>
                  </a:cubicBezTo>
                  <a:cubicBezTo>
                    <a:pt x="118686" y="90818"/>
                    <a:pt x="118686" y="90818"/>
                    <a:pt x="118686" y="90818"/>
                  </a:cubicBezTo>
                  <a:cubicBezTo>
                    <a:pt x="119071" y="90688"/>
                    <a:pt x="119071" y="90688"/>
                    <a:pt x="119071" y="90688"/>
                  </a:cubicBezTo>
                  <a:cubicBezTo>
                    <a:pt x="119605" y="90290"/>
                    <a:pt x="119990" y="89689"/>
                    <a:pt x="119990" y="89031"/>
                  </a:cubicBezTo>
                  <a:lnTo>
                    <a:pt x="119990" y="89031"/>
                  </a:lnTo>
                  <a:cubicBezTo>
                    <a:pt x="119990" y="18230"/>
                    <a:pt x="119990" y="18230"/>
                    <a:pt x="119990" y="18230"/>
                  </a:cubicBezTo>
                  <a:close/>
                  <a:moveTo>
                    <a:pt x="105672" y="81865"/>
                  </a:moveTo>
                  <a:lnTo>
                    <a:pt x="105672" y="81865"/>
                  </a:lnTo>
                  <a:cubicBezTo>
                    <a:pt x="105596" y="81865"/>
                    <a:pt x="105596" y="81865"/>
                    <a:pt x="105596" y="81865"/>
                  </a:cubicBezTo>
                  <a:cubicBezTo>
                    <a:pt x="105596" y="82531"/>
                    <a:pt x="105287" y="83125"/>
                    <a:pt x="104677" y="83458"/>
                  </a:cubicBezTo>
                  <a:cubicBezTo>
                    <a:pt x="104517" y="83523"/>
                    <a:pt x="104442" y="83588"/>
                    <a:pt x="104292" y="83661"/>
                  </a:cubicBezTo>
                  <a:cubicBezTo>
                    <a:pt x="61337" y="105271"/>
                    <a:pt x="61337" y="105271"/>
                    <a:pt x="61337" y="105271"/>
                  </a:cubicBezTo>
                  <a:lnTo>
                    <a:pt x="61337" y="105271"/>
                  </a:lnTo>
                  <a:cubicBezTo>
                    <a:pt x="61262" y="105336"/>
                    <a:pt x="61186" y="105336"/>
                    <a:pt x="61027" y="105401"/>
                  </a:cubicBezTo>
                  <a:lnTo>
                    <a:pt x="61027" y="105401"/>
                  </a:lnTo>
                  <a:cubicBezTo>
                    <a:pt x="60717" y="105539"/>
                    <a:pt x="60417" y="105604"/>
                    <a:pt x="60032" y="105604"/>
                  </a:cubicBezTo>
                  <a:cubicBezTo>
                    <a:pt x="59648" y="105604"/>
                    <a:pt x="59263" y="105539"/>
                    <a:pt x="58963" y="105336"/>
                  </a:cubicBezTo>
                  <a:lnTo>
                    <a:pt x="58963" y="105336"/>
                  </a:lnTo>
                  <a:cubicBezTo>
                    <a:pt x="58963" y="105336"/>
                    <a:pt x="58888" y="105336"/>
                    <a:pt x="58888" y="105271"/>
                  </a:cubicBezTo>
                  <a:cubicBezTo>
                    <a:pt x="25418" y="88495"/>
                    <a:pt x="25418" y="88495"/>
                    <a:pt x="25418" y="88495"/>
                  </a:cubicBezTo>
                  <a:cubicBezTo>
                    <a:pt x="25193" y="88365"/>
                    <a:pt x="25193" y="88365"/>
                    <a:pt x="25193" y="88365"/>
                  </a:cubicBezTo>
                  <a:cubicBezTo>
                    <a:pt x="24883" y="88235"/>
                    <a:pt x="24499" y="88170"/>
                    <a:pt x="24198" y="88170"/>
                  </a:cubicBezTo>
                  <a:cubicBezTo>
                    <a:pt x="23589" y="88170"/>
                    <a:pt x="23044" y="88365"/>
                    <a:pt x="22669" y="88698"/>
                  </a:cubicBezTo>
                  <a:lnTo>
                    <a:pt x="22669" y="88698"/>
                  </a:lnTo>
                  <a:cubicBezTo>
                    <a:pt x="18296" y="92012"/>
                    <a:pt x="18296" y="92012"/>
                    <a:pt x="18296" y="92012"/>
                  </a:cubicBezTo>
                  <a:cubicBezTo>
                    <a:pt x="18221" y="92142"/>
                    <a:pt x="18071" y="92207"/>
                    <a:pt x="17996" y="92272"/>
                  </a:cubicBezTo>
                  <a:lnTo>
                    <a:pt x="17996" y="92272"/>
                  </a:lnTo>
                  <a:cubicBezTo>
                    <a:pt x="17612" y="92475"/>
                    <a:pt x="17152" y="92670"/>
                    <a:pt x="16617" y="92670"/>
                  </a:cubicBezTo>
                  <a:cubicBezTo>
                    <a:pt x="15388" y="92670"/>
                    <a:pt x="14393" y="91744"/>
                    <a:pt x="14393" y="90688"/>
                  </a:cubicBezTo>
                  <a:cubicBezTo>
                    <a:pt x="14393" y="38516"/>
                    <a:pt x="14393" y="38516"/>
                    <a:pt x="14393" y="38516"/>
                  </a:cubicBezTo>
                  <a:cubicBezTo>
                    <a:pt x="14393" y="38451"/>
                    <a:pt x="14393" y="38386"/>
                    <a:pt x="14393" y="38321"/>
                  </a:cubicBezTo>
                  <a:cubicBezTo>
                    <a:pt x="14393" y="38182"/>
                    <a:pt x="14393" y="38117"/>
                    <a:pt x="14393" y="38052"/>
                  </a:cubicBezTo>
                  <a:cubicBezTo>
                    <a:pt x="14468" y="37459"/>
                    <a:pt x="14853" y="36923"/>
                    <a:pt x="15388" y="36663"/>
                  </a:cubicBezTo>
                  <a:cubicBezTo>
                    <a:pt x="15463" y="36598"/>
                    <a:pt x="15547" y="36533"/>
                    <a:pt x="15622" y="36533"/>
                  </a:cubicBezTo>
                  <a:cubicBezTo>
                    <a:pt x="58888" y="14785"/>
                    <a:pt x="58888" y="14785"/>
                    <a:pt x="58888" y="14785"/>
                  </a:cubicBezTo>
                  <a:lnTo>
                    <a:pt x="58888" y="14785"/>
                  </a:lnTo>
                  <a:cubicBezTo>
                    <a:pt x="59263" y="14582"/>
                    <a:pt x="59648" y="14452"/>
                    <a:pt x="60107" y="14452"/>
                  </a:cubicBezTo>
                  <a:cubicBezTo>
                    <a:pt x="60492" y="14452"/>
                    <a:pt x="60877" y="14582"/>
                    <a:pt x="61186" y="14720"/>
                  </a:cubicBezTo>
                  <a:lnTo>
                    <a:pt x="61186" y="14720"/>
                  </a:lnTo>
                  <a:cubicBezTo>
                    <a:pt x="94487" y="31488"/>
                    <a:pt x="94487" y="31488"/>
                    <a:pt x="94487" y="31488"/>
                  </a:cubicBezTo>
                  <a:cubicBezTo>
                    <a:pt x="94797" y="31626"/>
                    <a:pt x="94797" y="31626"/>
                    <a:pt x="94797" y="31626"/>
                  </a:cubicBezTo>
                  <a:cubicBezTo>
                    <a:pt x="95106" y="31756"/>
                    <a:pt x="95491" y="31821"/>
                    <a:pt x="95791" y="31821"/>
                  </a:cubicBezTo>
                  <a:cubicBezTo>
                    <a:pt x="96326" y="31821"/>
                    <a:pt x="96786" y="31691"/>
                    <a:pt x="97171" y="31423"/>
                  </a:cubicBezTo>
                  <a:cubicBezTo>
                    <a:pt x="97480" y="31228"/>
                    <a:pt x="97480" y="31228"/>
                    <a:pt x="97480" y="31228"/>
                  </a:cubicBezTo>
                  <a:cubicBezTo>
                    <a:pt x="101843" y="27841"/>
                    <a:pt x="101843" y="27841"/>
                    <a:pt x="101843" y="27841"/>
                  </a:cubicBezTo>
                  <a:lnTo>
                    <a:pt x="101843" y="27841"/>
                  </a:lnTo>
                  <a:cubicBezTo>
                    <a:pt x="102228" y="27516"/>
                    <a:pt x="102763" y="27312"/>
                    <a:pt x="103373" y="27312"/>
                  </a:cubicBezTo>
                  <a:cubicBezTo>
                    <a:pt x="104602" y="27312"/>
                    <a:pt x="105596" y="28109"/>
                    <a:pt x="105672" y="29173"/>
                  </a:cubicBezTo>
                  <a:cubicBezTo>
                    <a:pt x="105672" y="29238"/>
                    <a:pt x="105672" y="29238"/>
                    <a:pt x="105672" y="29303"/>
                  </a:cubicBezTo>
                  <a:lnTo>
                    <a:pt x="105672" y="29368"/>
                  </a:lnTo>
                  <a:cubicBezTo>
                    <a:pt x="105672" y="37061"/>
                    <a:pt x="105672" y="37061"/>
                    <a:pt x="105672" y="37061"/>
                  </a:cubicBezTo>
                  <a:lnTo>
                    <a:pt x="105672" y="81865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Shape 246"/>
            <p:cNvSpPr/>
            <p:nvPr/>
          </p:nvSpPr>
          <p:spPr>
            <a:xfrm>
              <a:off x="5681662" y="2157413"/>
              <a:ext cx="531900" cy="6906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0324" y="0"/>
                  </a:moveTo>
                  <a:lnTo>
                    <a:pt x="60324" y="0"/>
                  </a:lnTo>
                  <a:cubicBezTo>
                    <a:pt x="92801" y="0"/>
                    <a:pt x="116589" y="8692"/>
                    <a:pt x="116589" y="31641"/>
                  </a:cubicBezTo>
                  <a:cubicBezTo>
                    <a:pt x="116589" y="45461"/>
                    <a:pt x="107334" y="54590"/>
                    <a:pt x="93450" y="58155"/>
                  </a:cubicBezTo>
                  <a:cubicBezTo>
                    <a:pt x="108633" y="62282"/>
                    <a:pt x="119918" y="71974"/>
                    <a:pt x="119918" y="86732"/>
                  </a:cubicBezTo>
                  <a:cubicBezTo>
                    <a:pt x="119918" y="110244"/>
                    <a:pt x="97428" y="119937"/>
                    <a:pt x="62922" y="119937"/>
                  </a:cubicBezTo>
                  <a:cubicBezTo>
                    <a:pt x="0" y="119937"/>
                    <a:pt x="0" y="119937"/>
                    <a:pt x="0" y="1199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0324" y="0"/>
                  </a:lnTo>
                  <a:close/>
                  <a:moveTo>
                    <a:pt x="17861" y="12756"/>
                  </a:moveTo>
                  <a:lnTo>
                    <a:pt x="17861" y="12756"/>
                  </a:lnTo>
                  <a:cubicBezTo>
                    <a:pt x="17861" y="52589"/>
                    <a:pt x="17861" y="52589"/>
                    <a:pt x="17861" y="52589"/>
                  </a:cubicBezTo>
                  <a:cubicBezTo>
                    <a:pt x="59594" y="52589"/>
                    <a:pt x="59594" y="52589"/>
                    <a:pt x="59594" y="52589"/>
                  </a:cubicBezTo>
                  <a:cubicBezTo>
                    <a:pt x="81515" y="52589"/>
                    <a:pt x="98078" y="49025"/>
                    <a:pt x="98078" y="32704"/>
                  </a:cubicBezTo>
                  <a:cubicBezTo>
                    <a:pt x="98078" y="16883"/>
                    <a:pt x="80784" y="12756"/>
                    <a:pt x="59594" y="12756"/>
                  </a:cubicBezTo>
                  <a:lnTo>
                    <a:pt x="17861" y="12756"/>
                  </a:lnTo>
                  <a:close/>
                  <a:moveTo>
                    <a:pt x="17861" y="65846"/>
                  </a:moveTo>
                  <a:lnTo>
                    <a:pt x="17861" y="65846"/>
                  </a:lnTo>
                  <a:cubicBezTo>
                    <a:pt x="17861" y="107180"/>
                    <a:pt x="17861" y="107180"/>
                    <a:pt x="17861" y="107180"/>
                  </a:cubicBezTo>
                  <a:cubicBezTo>
                    <a:pt x="62273" y="107180"/>
                    <a:pt x="62273" y="107180"/>
                    <a:pt x="62273" y="107180"/>
                  </a:cubicBezTo>
                  <a:cubicBezTo>
                    <a:pt x="85493" y="107180"/>
                    <a:pt x="101407" y="102615"/>
                    <a:pt x="101407" y="86232"/>
                  </a:cubicBezTo>
                  <a:cubicBezTo>
                    <a:pt x="101407" y="70411"/>
                    <a:pt x="85493" y="65846"/>
                    <a:pt x="62273" y="65846"/>
                  </a:cubicBezTo>
                  <a:lnTo>
                    <a:pt x="17861" y="65846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Shape 247"/>
            <p:cNvSpPr/>
            <p:nvPr/>
          </p:nvSpPr>
          <p:spPr>
            <a:xfrm>
              <a:off x="6313487" y="2147888"/>
              <a:ext cx="641400" cy="711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32" y="23744"/>
                  </a:moveTo>
                  <a:lnTo>
                    <a:pt x="119932" y="23744"/>
                  </a:lnTo>
                  <a:cubicBezTo>
                    <a:pt x="107258" y="31700"/>
                    <a:pt x="107258" y="31700"/>
                    <a:pt x="107258" y="31700"/>
                  </a:cubicBezTo>
                  <a:cubicBezTo>
                    <a:pt x="99033" y="19797"/>
                    <a:pt x="84134" y="12874"/>
                    <a:pt x="67078" y="12874"/>
                  </a:cubicBezTo>
                  <a:cubicBezTo>
                    <a:pt x="37955" y="12874"/>
                    <a:pt x="15910" y="31700"/>
                    <a:pt x="15910" y="59939"/>
                  </a:cubicBezTo>
                  <a:cubicBezTo>
                    <a:pt x="15910" y="87692"/>
                    <a:pt x="37955" y="107004"/>
                    <a:pt x="67078" y="107004"/>
                  </a:cubicBezTo>
                  <a:cubicBezTo>
                    <a:pt x="84134" y="107004"/>
                    <a:pt x="98426" y="100080"/>
                    <a:pt x="107258" y="88178"/>
                  </a:cubicBezTo>
                  <a:cubicBezTo>
                    <a:pt x="119325" y="96133"/>
                    <a:pt x="119325" y="96133"/>
                    <a:pt x="119325" y="96133"/>
                  </a:cubicBezTo>
                  <a:cubicBezTo>
                    <a:pt x="108876" y="111012"/>
                    <a:pt x="89123" y="119939"/>
                    <a:pt x="67078" y="119939"/>
                  </a:cubicBezTo>
                  <a:cubicBezTo>
                    <a:pt x="28584" y="119939"/>
                    <a:pt x="0" y="94676"/>
                    <a:pt x="0" y="59939"/>
                  </a:cubicBezTo>
                  <a:cubicBezTo>
                    <a:pt x="0" y="24777"/>
                    <a:pt x="28584" y="0"/>
                    <a:pt x="67078" y="0"/>
                  </a:cubicBezTo>
                  <a:cubicBezTo>
                    <a:pt x="89662" y="0"/>
                    <a:pt x="109415" y="8927"/>
                    <a:pt x="119932" y="23744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Shape 248"/>
            <p:cNvSpPr/>
            <p:nvPr/>
          </p:nvSpPr>
          <p:spPr>
            <a:xfrm>
              <a:off x="7024688" y="2147888"/>
              <a:ext cx="690600" cy="711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744" y="19311"/>
                  </a:moveTo>
                  <a:lnTo>
                    <a:pt x="108744" y="19311"/>
                  </a:lnTo>
                  <a:cubicBezTo>
                    <a:pt x="98488" y="28724"/>
                    <a:pt x="98488" y="28724"/>
                    <a:pt x="98488" y="28724"/>
                  </a:cubicBezTo>
                  <a:cubicBezTo>
                    <a:pt x="89859" y="18825"/>
                    <a:pt x="77102" y="12874"/>
                    <a:pt x="62282" y="12874"/>
                  </a:cubicBezTo>
                  <a:cubicBezTo>
                    <a:pt x="35205" y="12874"/>
                    <a:pt x="14820" y="31700"/>
                    <a:pt x="14820" y="59939"/>
                  </a:cubicBezTo>
                  <a:cubicBezTo>
                    <a:pt x="14820" y="87692"/>
                    <a:pt x="35205" y="107004"/>
                    <a:pt x="61782" y="107004"/>
                  </a:cubicBezTo>
                  <a:cubicBezTo>
                    <a:pt x="86795" y="107004"/>
                    <a:pt x="102615" y="92186"/>
                    <a:pt x="104616" y="68380"/>
                  </a:cubicBezTo>
                  <a:cubicBezTo>
                    <a:pt x="67410" y="68380"/>
                    <a:pt x="67410" y="68380"/>
                    <a:pt x="67410" y="68380"/>
                  </a:cubicBezTo>
                  <a:cubicBezTo>
                    <a:pt x="67410" y="55991"/>
                    <a:pt x="67410" y="55991"/>
                    <a:pt x="67410" y="55991"/>
                  </a:cubicBezTo>
                  <a:cubicBezTo>
                    <a:pt x="119437" y="55991"/>
                    <a:pt x="119437" y="55991"/>
                    <a:pt x="119437" y="55991"/>
                  </a:cubicBezTo>
                  <a:cubicBezTo>
                    <a:pt x="119937" y="56963"/>
                    <a:pt x="119937" y="57935"/>
                    <a:pt x="119937" y="59453"/>
                  </a:cubicBezTo>
                  <a:cubicBezTo>
                    <a:pt x="119937" y="93157"/>
                    <a:pt x="97488" y="119939"/>
                    <a:pt x="61782" y="119939"/>
                  </a:cubicBezTo>
                  <a:cubicBezTo>
                    <a:pt x="30140" y="119939"/>
                    <a:pt x="0" y="97591"/>
                    <a:pt x="0" y="59939"/>
                  </a:cubicBezTo>
                  <a:cubicBezTo>
                    <a:pt x="0" y="24777"/>
                    <a:pt x="26576" y="0"/>
                    <a:pt x="62282" y="0"/>
                  </a:cubicBezTo>
                  <a:cubicBezTo>
                    <a:pt x="81167" y="0"/>
                    <a:pt x="97488" y="7408"/>
                    <a:pt x="108744" y="19311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Shape 249"/>
            <p:cNvSpPr/>
            <p:nvPr/>
          </p:nvSpPr>
          <p:spPr>
            <a:xfrm>
              <a:off x="5684837" y="3176588"/>
              <a:ext cx="700200" cy="7635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1940" y="0"/>
                  </a:moveTo>
                  <a:lnTo>
                    <a:pt x="51940" y="0"/>
                  </a:lnTo>
                  <a:cubicBezTo>
                    <a:pt x="92763" y="0"/>
                    <a:pt x="119938" y="23977"/>
                    <a:pt x="119938" y="60000"/>
                  </a:cubicBezTo>
                  <a:cubicBezTo>
                    <a:pt x="119938" y="95966"/>
                    <a:pt x="92763" y="119943"/>
                    <a:pt x="51940" y="119943"/>
                  </a:cubicBezTo>
                  <a:cubicBezTo>
                    <a:pt x="0" y="119943"/>
                    <a:pt x="0" y="119943"/>
                    <a:pt x="0" y="11994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1940" y="0"/>
                  </a:lnTo>
                  <a:close/>
                  <a:moveTo>
                    <a:pt x="21183" y="18435"/>
                  </a:moveTo>
                  <a:lnTo>
                    <a:pt x="21183" y="18435"/>
                  </a:lnTo>
                  <a:cubicBezTo>
                    <a:pt x="21183" y="101451"/>
                    <a:pt x="21183" y="101451"/>
                    <a:pt x="21183" y="101451"/>
                  </a:cubicBezTo>
                  <a:cubicBezTo>
                    <a:pt x="51940" y="101451"/>
                    <a:pt x="51940" y="101451"/>
                    <a:pt x="51940" y="101451"/>
                  </a:cubicBezTo>
                  <a:cubicBezTo>
                    <a:pt x="82635" y="101451"/>
                    <a:pt x="97766" y="83977"/>
                    <a:pt x="97766" y="60000"/>
                  </a:cubicBezTo>
                  <a:cubicBezTo>
                    <a:pt x="97766" y="35513"/>
                    <a:pt x="82635" y="18435"/>
                    <a:pt x="51940" y="18435"/>
                  </a:cubicBezTo>
                  <a:lnTo>
                    <a:pt x="21183" y="18435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Shape 250"/>
            <p:cNvSpPr/>
            <p:nvPr/>
          </p:nvSpPr>
          <p:spPr>
            <a:xfrm>
              <a:off x="6483350" y="3155950"/>
              <a:ext cx="158700" cy="784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6606" y="24726"/>
                    <a:pt x="0" y="19329"/>
                    <a:pt x="0" y="12556"/>
                  </a:cubicBezTo>
                  <a:cubicBezTo>
                    <a:pt x="0" y="5396"/>
                    <a:pt x="26606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3981" y="119944"/>
                  </a:moveTo>
                  <a:lnTo>
                    <a:pt x="103981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3981" y="39981"/>
                    <a:pt x="103981" y="39981"/>
                    <a:pt x="103981" y="39981"/>
                  </a:cubicBezTo>
                  <a:lnTo>
                    <a:pt x="103981" y="119944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Shape 251"/>
            <p:cNvSpPr/>
            <p:nvPr/>
          </p:nvSpPr>
          <p:spPr>
            <a:xfrm>
              <a:off x="6727825" y="3402012"/>
              <a:ext cx="531900" cy="7635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4100" y="11988"/>
                  </a:moveTo>
                  <a:lnTo>
                    <a:pt x="94100" y="11988"/>
                  </a:lnTo>
                  <a:cubicBezTo>
                    <a:pt x="94100" y="2318"/>
                    <a:pt x="94100" y="2318"/>
                    <a:pt x="94100" y="2318"/>
                  </a:cubicBezTo>
                  <a:cubicBezTo>
                    <a:pt x="119918" y="2318"/>
                    <a:pt x="119918" y="2318"/>
                    <a:pt x="119918" y="2318"/>
                  </a:cubicBezTo>
                  <a:cubicBezTo>
                    <a:pt x="119918" y="78435"/>
                    <a:pt x="119918" y="78435"/>
                    <a:pt x="119918" y="78435"/>
                  </a:cubicBezTo>
                  <a:cubicBezTo>
                    <a:pt x="119918" y="104278"/>
                    <a:pt x="96048" y="119943"/>
                    <a:pt x="56995" y="119943"/>
                  </a:cubicBezTo>
                  <a:cubicBezTo>
                    <a:pt x="39133" y="119943"/>
                    <a:pt x="19891" y="116720"/>
                    <a:pt x="7307" y="110725"/>
                  </a:cubicBezTo>
                  <a:cubicBezTo>
                    <a:pt x="16562" y="95457"/>
                    <a:pt x="16562" y="95457"/>
                    <a:pt x="16562" y="95457"/>
                  </a:cubicBezTo>
                  <a:cubicBezTo>
                    <a:pt x="28497" y="100546"/>
                    <a:pt x="42462" y="103770"/>
                    <a:pt x="56995" y="103770"/>
                  </a:cubicBezTo>
                  <a:cubicBezTo>
                    <a:pt x="80866" y="103770"/>
                    <a:pt x="94100" y="94552"/>
                    <a:pt x="94100" y="79340"/>
                  </a:cubicBezTo>
                  <a:cubicBezTo>
                    <a:pt x="94100" y="72893"/>
                    <a:pt x="94100" y="72893"/>
                    <a:pt x="94100" y="72893"/>
                  </a:cubicBezTo>
                  <a:cubicBezTo>
                    <a:pt x="85493" y="80697"/>
                    <a:pt x="72259" y="84429"/>
                    <a:pt x="55047" y="84429"/>
                  </a:cubicBezTo>
                  <a:cubicBezTo>
                    <a:pt x="27848" y="84429"/>
                    <a:pt x="0" y="68708"/>
                    <a:pt x="0" y="42469"/>
                  </a:cubicBezTo>
                  <a:cubicBezTo>
                    <a:pt x="0" y="15721"/>
                    <a:pt x="27848" y="0"/>
                    <a:pt x="55047" y="0"/>
                  </a:cubicBezTo>
                  <a:cubicBezTo>
                    <a:pt x="72259" y="0"/>
                    <a:pt x="85493" y="4184"/>
                    <a:pt x="94100" y="11988"/>
                  </a:cubicBezTo>
                  <a:close/>
                  <a:moveTo>
                    <a:pt x="26549" y="42469"/>
                  </a:moveTo>
                  <a:lnTo>
                    <a:pt x="26549" y="42469"/>
                  </a:lnTo>
                  <a:cubicBezTo>
                    <a:pt x="26549" y="56324"/>
                    <a:pt x="39783" y="67803"/>
                    <a:pt x="61623" y="67803"/>
                  </a:cubicBezTo>
                  <a:cubicBezTo>
                    <a:pt x="82165" y="67803"/>
                    <a:pt x="96048" y="56776"/>
                    <a:pt x="96048" y="42469"/>
                  </a:cubicBezTo>
                  <a:cubicBezTo>
                    <a:pt x="96048" y="28162"/>
                    <a:pt x="82165" y="17078"/>
                    <a:pt x="61623" y="17078"/>
                  </a:cubicBezTo>
                  <a:cubicBezTo>
                    <a:pt x="39783" y="17078"/>
                    <a:pt x="26549" y="28614"/>
                    <a:pt x="26549" y="42469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Shape 252"/>
            <p:cNvSpPr/>
            <p:nvPr/>
          </p:nvSpPr>
          <p:spPr>
            <a:xfrm>
              <a:off x="7383463" y="3155950"/>
              <a:ext cx="158700" cy="784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4434" y="24726"/>
                    <a:pt x="0" y="19329"/>
                    <a:pt x="0" y="12556"/>
                  </a:cubicBezTo>
                  <a:cubicBezTo>
                    <a:pt x="0" y="5396"/>
                    <a:pt x="24434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4253" y="119944"/>
                  </a:moveTo>
                  <a:lnTo>
                    <a:pt x="104253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4253" y="39981"/>
                    <a:pt x="104253" y="39981"/>
                    <a:pt x="104253" y="39981"/>
                  </a:cubicBezTo>
                  <a:lnTo>
                    <a:pt x="104253" y="119944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Shape 253"/>
            <p:cNvSpPr/>
            <p:nvPr/>
          </p:nvSpPr>
          <p:spPr>
            <a:xfrm>
              <a:off x="7600950" y="3259138"/>
              <a:ext cx="452400" cy="6936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319" y="45295"/>
                  </a:moveTo>
                  <a:lnTo>
                    <a:pt x="111319" y="45295"/>
                  </a:lnTo>
                  <a:cubicBezTo>
                    <a:pt x="58378" y="45295"/>
                    <a:pt x="58378" y="45295"/>
                    <a:pt x="58378" y="45295"/>
                  </a:cubicBezTo>
                  <a:cubicBezTo>
                    <a:pt x="58378" y="84423"/>
                    <a:pt x="58378" y="84423"/>
                    <a:pt x="58378" y="84423"/>
                  </a:cubicBezTo>
                  <a:cubicBezTo>
                    <a:pt x="58378" y="96573"/>
                    <a:pt x="67726" y="101619"/>
                    <a:pt x="80222" y="101619"/>
                  </a:cubicBezTo>
                  <a:cubicBezTo>
                    <a:pt x="89475" y="101619"/>
                    <a:pt x="99682" y="98629"/>
                    <a:pt x="108171" y="95576"/>
                  </a:cubicBezTo>
                  <a:cubicBezTo>
                    <a:pt x="119904" y="111339"/>
                    <a:pt x="119904" y="111339"/>
                    <a:pt x="119904" y="111339"/>
                  </a:cubicBezTo>
                  <a:cubicBezTo>
                    <a:pt x="108934" y="115887"/>
                    <a:pt x="95007" y="119937"/>
                    <a:pt x="77837" y="119937"/>
                  </a:cubicBezTo>
                  <a:cubicBezTo>
                    <a:pt x="45882" y="119937"/>
                    <a:pt x="28044" y="108785"/>
                    <a:pt x="28044" y="84922"/>
                  </a:cubicBezTo>
                  <a:cubicBezTo>
                    <a:pt x="28044" y="45295"/>
                    <a:pt x="28044" y="45295"/>
                    <a:pt x="28044" y="45295"/>
                  </a:cubicBezTo>
                  <a:cubicBezTo>
                    <a:pt x="0" y="45295"/>
                    <a:pt x="0" y="45295"/>
                    <a:pt x="0" y="45295"/>
                  </a:cubicBezTo>
                  <a:cubicBezTo>
                    <a:pt x="0" y="27476"/>
                    <a:pt x="0" y="27476"/>
                    <a:pt x="0" y="27476"/>
                  </a:cubicBezTo>
                  <a:cubicBezTo>
                    <a:pt x="28044" y="27476"/>
                    <a:pt x="28044" y="27476"/>
                    <a:pt x="28044" y="27476"/>
                  </a:cubicBezTo>
                  <a:cubicBezTo>
                    <a:pt x="28044" y="0"/>
                    <a:pt x="28044" y="0"/>
                    <a:pt x="28044" y="0"/>
                  </a:cubicBezTo>
                  <a:cubicBezTo>
                    <a:pt x="58378" y="0"/>
                    <a:pt x="58378" y="0"/>
                    <a:pt x="58378" y="0"/>
                  </a:cubicBezTo>
                  <a:cubicBezTo>
                    <a:pt x="58378" y="27476"/>
                    <a:pt x="58378" y="27476"/>
                    <a:pt x="58378" y="27476"/>
                  </a:cubicBezTo>
                  <a:cubicBezTo>
                    <a:pt x="111319" y="27476"/>
                    <a:pt x="111319" y="27476"/>
                    <a:pt x="111319" y="27476"/>
                  </a:cubicBezTo>
                  <a:lnTo>
                    <a:pt x="111319" y="45295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Shape 254"/>
            <p:cNvSpPr/>
            <p:nvPr/>
          </p:nvSpPr>
          <p:spPr>
            <a:xfrm>
              <a:off x="8078788" y="3402012"/>
              <a:ext cx="538200" cy="549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9" y="117404"/>
                  </a:moveTo>
                  <a:lnTo>
                    <a:pt x="119919" y="117404"/>
                  </a:lnTo>
                  <a:cubicBezTo>
                    <a:pt x="94956" y="117404"/>
                    <a:pt x="94956" y="117404"/>
                    <a:pt x="94956" y="117404"/>
                  </a:cubicBezTo>
                  <a:cubicBezTo>
                    <a:pt x="94956" y="103250"/>
                    <a:pt x="94956" y="103250"/>
                    <a:pt x="94956" y="103250"/>
                  </a:cubicBezTo>
                  <a:cubicBezTo>
                    <a:pt x="86448" y="113551"/>
                    <a:pt x="74648" y="119921"/>
                    <a:pt x="58274" y="119921"/>
                  </a:cubicBezTo>
                  <a:cubicBezTo>
                    <a:pt x="25605" y="119921"/>
                    <a:pt x="0" y="94914"/>
                    <a:pt x="0" y="60314"/>
                  </a:cubicBezTo>
                  <a:cubicBezTo>
                    <a:pt x="0" y="25006"/>
                    <a:pt x="25605" y="0"/>
                    <a:pt x="58274" y="0"/>
                  </a:cubicBezTo>
                  <a:cubicBezTo>
                    <a:pt x="74648" y="0"/>
                    <a:pt x="86448" y="7077"/>
                    <a:pt x="94956" y="16671"/>
                  </a:cubicBezTo>
                  <a:cubicBezTo>
                    <a:pt x="94956" y="3224"/>
                    <a:pt x="94956" y="3224"/>
                    <a:pt x="94956" y="3224"/>
                  </a:cubicBezTo>
                  <a:cubicBezTo>
                    <a:pt x="119919" y="3224"/>
                    <a:pt x="119919" y="3224"/>
                    <a:pt x="119919" y="3224"/>
                  </a:cubicBezTo>
                  <a:lnTo>
                    <a:pt x="119919" y="117404"/>
                  </a:lnTo>
                  <a:close/>
                  <a:moveTo>
                    <a:pt x="26247" y="60314"/>
                  </a:moveTo>
                  <a:lnTo>
                    <a:pt x="26247" y="60314"/>
                  </a:lnTo>
                  <a:cubicBezTo>
                    <a:pt x="26247" y="80209"/>
                    <a:pt x="39331" y="96802"/>
                    <a:pt x="60923" y="96802"/>
                  </a:cubicBezTo>
                  <a:cubicBezTo>
                    <a:pt x="82515" y="96802"/>
                    <a:pt x="96321" y="80917"/>
                    <a:pt x="96321" y="60314"/>
                  </a:cubicBezTo>
                  <a:cubicBezTo>
                    <a:pt x="96321" y="39161"/>
                    <a:pt x="82515" y="23748"/>
                    <a:pt x="60923" y="23748"/>
                  </a:cubicBezTo>
                  <a:cubicBezTo>
                    <a:pt x="39331" y="23748"/>
                    <a:pt x="26247" y="40419"/>
                    <a:pt x="26247" y="60314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Shape 255"/>
            <p:cNvSpPr/>
            <p:nvPr/>
          </p:nvSpPr>
          <p:spPr>
            <a:xfrm>
              <a:off x="8764588" y="3155950"/>
              <a:ext cx="114300" cy="784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623" y="119944"/>
                  </a:moveTo>
                  <a:lnTo>
                    <a:pt x="0" y="119944"/>
                  </a:lnTo>
                  <a:lnTo>
                    <a:pt x="0" y="0"/>
                  </a:lnTo>
                  <a:lnTo>
                    <a:pt x="119623" y="0"/>
                  </a:lnTo>
                  <a:lnTo>
                    <a:pt x="119623" y="119944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Shape 256"/>
            <p:cNvSpPr/>
            <p:nvPr/>
          </p:nvSpPr>
          <p:spPr>
            <a:xfrm>
              <a:off x="5640387" y="4265612"/>
              <a:ext cx="738300" cy="7635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2620" y="119943"/>
                  </a:moveTo>
                  <a:lnTo>
                    <a:pt x="47320" y="119943"/>
                  </a:lnTo>
                  <a:lnTo>
                    <a:pt x="0" y="0"/>
                  </a:lnTo>
                  <a:lnTo>
                    <a:pt x="21493" y="0"/>
                  </a:lnTo>
                  <a:lnTo>
                    <a:pt x="60204" y="100103"/>
                  </a:lnTo>
                  <a:lnTo>
                    <a:pt x="98916" y="0"/>
                  </a:lnTo>
                  <a:lnTo>
                    <a:pt x="119941" y="0"/>
                  </a:lnTo>
                  <a:lnTo>
                    <a:pt x="72620" y="119943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Shape 257"/>
            <p:cNvSpPr/>
            <p:nvPr/>
          </p:nvSpPr>
          <p:spPr>
            <a:xfrm>
              <a:off x="6362700" y="4494212"/>
              <a:ext cx="506400" cy="546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231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1565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071" y="50322"/>
                    <a:pt x="92071" y="50322"/>
                    <a:pt x="92071" y="50322"/>
                  </a:cubicBezTo>
                  <a:cubicBezTo>
                    <a:pt x="89252" y="32231"/>
                    <a:pt x="78064" y="21882"/>
                    <a:pt x="60640" y="21882"/>
                  </a:cubicBezTo>
                  <a:cubicBezTo>
                    <a:pt x="41850" y="21882"/>
                    <a:pt x="30661" y="33495"/>
                    <a:pt x="27928" y="50322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Shape 258"/>
            <p:cNvSpPr/>
            <p:nvPr/>
          </p:nvSpPr>
          <p:spPr>
            <a:xfrm>
              <a:off x="6983413" y="4494212"/>
              <a:ext cx="485700" cy="5349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46110"/>
                  </a:moveTo>
                  <a:lnTo>
                    <a:pt x="119910" y="46110"/>
                  </a:lnTo>
                  <a:cubicBezTo>
                    <a:pt x="119910" y="119919"/>
                    <a:pt x="119910" y="119919"/>
                    <a:pt x="119910" y="119919"/>
                  </a:cubicBezTo>
                  <a:cubicBezTo>
                    <a:pt x="91513" y="119919"/>
                    <a:pt x="91513" y="119919"/>
                    <a:pt x="91513" y="119919"/>
                  </a:cubicBezTo>
                  <a:cubicBezTo>
                    <a:pt x="91513" y="54670"/>
                    <a:pt x="91513" y="54670"/>
                    <a:pt x="91513" y="54670"/>
                  </a:cubicBezTo>
                  <a:cubicBezTo>
                    <a:pt x="91513" y="34966"/>
                    <a:pt x="80652" y="23741"/>
                    <a:pt x="61780" y="23741"/>
                  </a:cubicBezTo>
                  <a:cubicBezTo>
                    <a:pt x="43620" y="23741"/>
                    <a:pt x="28308" y="34966"/>
                    <a:pt x="28308" y="54670"/>
                  </a:cubicBezTo>
                  <a:cubicBezTo>
                    <a:pt x="28308" y="119919"/>
                    <a:pt x="28308" y="119919"/>
                    <a:pt x="28308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27596" y="2664"/>
                    <a:pt x="27596" y="2664"/>
                    <a:pt x="27596" y="2664"/>
                  </a:cubicBezTo>
                  <a:cubicBezTo>
                    <a:pt x="27596" y="17119"/>
                    <a:pt x="27596" y="17119"/>
                    <a:pt x="27596" y="17119"/>
                  </a:cubicBezTo>
                  <a:cubicBezTo>
                    <a:pt x="37833" y="3310"/>
                    <a:pt x="54480" y="0"/>
                    <a:pt x="67566" y="0"/>
                  </a:cubicBezTo>
                  <a:cubicBezTo>
                    <a:pt x="98100" y="0"/>
                    <a:pt x="119910" y="19138"/>
                    <a:pt x="119910" y="46110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Shape 259"/>
            <p:cNvSpPr/>
            <p:nvPr/>
          </p:nvSpPr>
          <p:spPr>
            <a:xfrm>
              <a:off x="7542213" y="4348162"/>
              <a:ext cx="452400" cy="6936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0556" y="45210"/>
                  </a:moveTo>
                  <a:lnTo>
                    <a:pt x="110556" y="45210"/>
                  </a:lnTo>
                  <a:cubicBezTo>
                    <a:pt x="57615" y="45210"/>
                    <a:pt x="57615" y="45210"/>
                    <a:pt x="57615" y="45210"/>
                  </a:cubicBezTo>
                  <a:cubicBezTo>
                    <a:pt x="57615" y="84878"/>
                    <a:pt x="57615" y="84878"/>
                    <a:pt x="57615" y="84878"/>
                  </a:cubicBezTo>
                  <a:cubicBezTo>
                    <a:pt x="57615" y="97083"/>
                    <a:pt x="67726" y="101629"/>
                    <a:pt x="80127" y="101629"/>
                  </a:cubicBezTo>
                  <a:cubicBezTo>
                    <a:pt x="89475" y="101629"/>
                    <a:pt x="99586" y="98578"/>
                    <a:pt x="107408" y="95526"/>
                  </a:cubicBezTo>
                  <a:cubicBezTo>
                    <a:pt x="119904" y="111281"/>
                    <a:pt x="119904" y="111281"/>
                    <a:pt x="119904" y="111281"/>
                  </a:cubicBezTo>
                  <a:cubicBezTo>
                    <a:pt x="108171" y="115889"/>
                    <a:pt x="94149" y="119937"/>
                    <a:pt x="77074" y="119937"/>
                  </a:cubicBezTo>
                  <a:cubicBezTo>
                    <a:pt x="45882" y="119937"/>
                    <a:pt x="27186" y="109289"/>
                    <a:pt x="27186" y="84878"/>
                  </a:cubicBezTo>
                  <a:cubicBezTo>
                    <a:pt x="27186" y="45210"/>
                    <a:pt x="27186" y="45210"/>
                    <a:pt x="27186" y="45210"/>
                  </a:cubicBezTo>
                  <a:cubicBezTo>
                    <a:pt x="0" y="45210"/>
                    <a:pt x="0" y="45210"/>
                    <a:pt x="0" y="45210"/>
                  </a:cubicBezTo>
                  <a:cubicBezTo>
                    <a:pt x="0" y="27462"/>
                    <a:pt x="0" y="27462"/>
                    <a:pt x="0" y="27462"/>
                  </a:cubicBezTo>
                  <a:cubicBezTo>
                    <a:pt x="27186" y="27462"/>
                    <a:pt x="27186" y="27462"/>
                    <a:pt x="27186" y="27462"/>
                  </a:cubicBezTo>
                  <a:cubicBezTo>
                    <a:pt x="27186" y="0"/>
                    <a:pt x="27186" y="0"/>
                    <a:pt x="27186" y="0"/>
                  </a:cubicBezTo>
                  <a:cubicBezTo>
                    <a:pt x="57615" y="0"/>
                    <a:pt x="57615" y="0"/>
                    <a:pt x="57615" y="0"/>
                  </a:cubicBezTo>
                  <a:cubicBezTo>
                    <a:pt x="57615" y="27462"/>
                    <a:pt x="57615" y="27462"/>
                    <a:pt x="57615" y="27462"/>
                  </a:cubicBezTo>
                  <a:cubicBezTo>
                    <a:pt x="110556" y="27462"/>
                    <a:pt x="110556" y="27462"/>
                    <a:pt x="110556" y="27462"/>
                  </a:cubicBezTo>
                  <a:lnTo>
                    <a:pt x="110556" y="45210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Shape 260"/>
            <p:cNvSpPr/>
            <p:nvPr/>
          </p:nvSpPr>
          <p:spPr>
            <a:xfrm>
              <a:off x="8050213" y="4506912"/>
              <a:ext cx="485700" cy="5349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67187"/>
                  </a:moveTo>
                  <a:lnTo>
                    <a:pt x="119910" y="67187"/>
                  </a:lnTo>
                  <a:cubicBezTo>
                    <a:pt x="119910" y="104737"/>
                    <a:pt x="90089" y="119919"/>
                    <a:pt x="59643" y="119919"/>
                  </a:cubicBezTo>
                  <a:cubicBezTo>
                    <a:pt x="29821" y="119919"/>
                    <a:pt x="0" y="104737"/>
                    <a:pt x="0" y="6718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397" y="0"/>
                    <a:pt x="28397" y="0"/>
                    <a:pt x="28397" y="0"/>
                  </a:cubicBezTo>
                  <a:cubicBezTo>
                    <a:pt x="28397" y="65168"/>
                    <a:pt x="28397" y="65168"/>
                    <a:pt x="28397" y="65168"/>
                  </a:cubicBezTo>
                  <a:cubicBezTo>
                    <a:pt x="28397" y="87617"/>
                    <a:pt x="42195" y="96177"/>
                    <a:pt x="59643" y="96177"/>
                  </a:cubicBezTo>
                  <a:cubicBezTo>
                    <a:pt x="77804" y="96177"/>
                    <a:pt x="91602" y="87617"/>
                    <a:pt x="91602" y="65168"/>
                  </a:cubicBezTo>
                  <a:cubicBezTo>
                    <a:pt x="91602" y="0"/>
                    <a:pt x="91602" y="0"/>
                    <a:pt x="91602" y="0"/>
                  </a:cubicBezTo>
                  <a:cubicBezTo>
                    <a:pt x="119910" y="0"/>
                    <a:pt x="119910" y="0"/>
                    <a:pt x="119910" y="0"/>
                  </a:cubicBezTo>
                  <a:lnTo>
                    <a:pt x="119910" y="67187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Shape 261"/>
            <p:cNvSpPr/>
            <p:nvPr/>
          </p:nvSpPr>
          <p:spPr>
            <a:xfrm>
              <a:off x="8675688" y="4494212"/>
              <a:ext cx="349200" cy="5349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76" y="3310"/>
                  </a:moveTo>
                  <a:lnTo>
                    <a:pt x="119876" y="3310"/>
                  </a:lnTo>
                  <a:cubicBezTo>
                    <a:pt x="110740" y="28344"/>
                    <a:pt x="110740" y="28344"/>
                    <a:pt x="110740" y="28344"/>
                  </a:cubicBezTo>
                  <a:cubicBezTo>
                    <a:pt x="102716" y="25679"/>
                    <a:pt x="90617" y="23741"/>
                    <a:pt x="81604" y="23741"/>
                  </a:cubicBezTo>
                  <a:cubicBezTo>
                    <a:pt x="56419" y="23741"/>
                    <a:pt x="38271" y="35612"/>
                    <a:pt x="38271" y="55397"/>
                  </a:cubicBezTo>
                  <a:cubicBezTo>
                    <a:pt x="38271" y="119919"/>
                    <a:pt x="38271" y="119919"/>
                    <a:pt x="38271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38271" y="2664"/>
                    <a:pt x="38271" y="2664"/>
                    <a:pt x="38271" y="2664"/>
                  </a:cubicBezTo>
                  <a:cubicBezTo>
                    <a:pt x="38271" y="15827"/>
                    <a:pt x="38271" y="15827"/>
                    <a:pt x="38271" y="15827"/>
                  </a:cubicBezTo>
                  <a:cubicBezTo>
                    <a:pt x="50370" y="4602"/>
                    <a:pt x="68518" y="0"/>
                    <a:pt x="90617" y="0"/>
                  </a:cubicBezTo>
                  <a:cubicBezTo>
                    <a:pt x="101728" y="0"/>
                    <a:pt x="110740" y="646"/>
                    <a:pt x="119876" y="3310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Shape 262"/>
            <p:cNvSpPr/>
            <p:nvPr/>
          </p:nvSpPr>
          <p:spPr>
            <a:xfrm>
              <a:off x="9063038" y="4494212"/>
              <a:ext cx="506400" cy="546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145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2249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669" y="50322"/>
                    <a:pt x="92669" y="50322"/>
                    <a:pt x="92669" y="50322"/>
                  </a:cubicBezTo>
                  <a:cubicBezTo>
                    <a:pt x="89252" y="32231"/>
                    <a:pt x="78064" y="21882"/>
                    <a:pt x="61323" y="21882"/>
                  </a:cubicBezTo>
                  <a:cubicBezTo>
                    <a:pt x="41850" y="21882"/>
                    <a:pt x="31345" y="33495"/>
                    <a:pt x="27928" y="50322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Shape 263"/>
            <p:cNvSpPr/>
            <p:nvPr/>
          </p:nvSpPr>
          <p:spPr>
            <a:xfrm>
              <a:off x="9636125" y="4494212"/>
              <a:ext cx="462000" cy="546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3819" y="31599"/>
                  </a:moveTo>
                  <a:lnTo>
                    <a:pt x="103819" y="31599"/>
                  </a:lnTo>
                  <a:cubicBezTo>
                    <a:pt x="96243" y="27096"/>
                    <a:pt x="79407" y="21250"/>
                    <a:pt x="62665" y="21250"/>
                  </a:cubicBezTo>
                  <a:cubicBezTo>
                    <a:pt x="45830" y="21250"/>
                    <a:pt x="36664" y="27096"/>
                    <a:pt x="36664" y="35470"/>
                  </a:cubicBezTo>
                  <a:cubicBezTo>
                    <a:pt x="36664" y="43212"/>
                    <a:pt x="46578" y="45740"/>
                    <a:pt x="58830" y="47083"/>
                  </a:cubicBezTo>
                  <a:cubicBezTo>
                    <a:pt x="73328" y="48979"/>
                    <a:pt x="73328" y="48979"/>
                    <a:pt x="73328" y="48979"/>
                  </a:cubicBezTo>
                  <a:cubicBezTo>
                    <a:pt x="102322" y="52218"/>
                    <a:pt x="119906" y="63199"/>
                    <a:pt x="119906" y="82554"/>
                  </a:cubicBezTo>
                  <a:cubicBezTo>
                    <a:pt x="119906" y="104437"/>
                    <a:pt x="97739" y="119921"/>
                    <a:pt x="58830" y="119921"/>
                  </a:cubicBezTo>
                  <a:cubicBezTo>
                    <a:pt x="44333" y="119921"/>
                    <a:pt x="19922" y="117946"/>
                    <a:pt x="0" y="105069"/>
                  </a:cubicBezTo>
                  <a:cubicBezTo>
                    <a:pt x="13749" y="86425"/>
                    <a:pt x="13749" y="86425"/>
                    <a:pt x="13749" y="86425"/>
                  </a:cubicBezTo>
                  <a:cubicBezTo>
                    <a:pt x="23663" y="92824"/>
                    <a:pt x="36664" y="98038"/>
                    <a:pt x="58830" y="98038"/>
                  </a:cubicBezTo>
                  <a:cubicBezTo>
                    <a:pt x="78659" y="98038"/>
                    <a:pt x="89321" y="92824"/>
                    <a:pt x="89321" y="84450"/>
                  </a:cubicBezTo>
                  <a:cubicBezTo>
                    <a:pt x="89321" y="77972"/>
                    <a:pt x="82494" y="73469"/>
                    <a:pt x="66406" y="71573"/>
                  </a:cubicBezTo>
                  <a:cubicBezTo>
                    <a:pt x="51909" y="70309"/>
                    <a:pt x="51909" y="70309"/>
                    <a:pt x="51909" y="70309"/>
                  </a:cubicBezTo>
                  <a:cubicBezTo>
                    <a:pt x="22166" y="66359"/>
                    <a:pt x="6173" y="54825"/>
                    <a:pt x="6173" y="36734"/>
                  </a:cubicBezTo>
                  <a:cubicBezTo>
                    <a:pt x="6173" y="13508"/>
                    <a:pt x="27498" y="0"/>
                    <a:pt x="61917" y="0"/>
                  </a:cubicBezTo>
                  <a:cubicBezTo>
                    <a:pt x="83242" y="0"/>
                    <a:pt x="103070" y="4502"/>
                    <a:pt x="116819" y="11612"/>
                  </a:cubicBezTo>
                  <a:lnTo>
                    <a:pt x="103819" y="31599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4" name="Shape 264"/>
          <p:cNvSpPr/>
          <p:nvPr/>
        </p:nvSpPr>
        <p:spPr>
          <a:xfrm>
            <a:off x="-36" y="1908"/>
            <a:ext cx="9144000" cy="4509900"/>
          </a:xfrm>
          <a:prstGeom prst="rect">
            <a:avLst/>
          </a:prstGeom>
          <a:gradFill>
            <a:gsLst>
              <a:gs pos="0">
                <a:srgbClr val="004CA8">
                  <a:alpha val="64705"/>
                </a:srgbClr>
              </a:gs>
              <a:gs pos="47000">
                <a:srgbClr val="318DFE">
                  <a:alpha val="68627"/>
                </a:srgbClr>
              </a:gs>
              <a:gs pos="100000">
                <a:srgbClr val="81EFF5">
                  <a:alpha val="60784"/>
                </a:srgbClr>
              </a:gs>
            </a:gsLst>
            <a:lin ang="16200038" scaled="0"/>
          </a:gra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losing"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9" name="Shape 349"/>
          <p:cNvPicPr preferRelativeResize="0"/>
          <p:nvPr/>
        </p:nvPicPr>
        <p:blipFill rotWithShape="1">
          <a:blip r:embed="rId2">
            <a:alphaModFix/>
          </a:blip>
          <a:srcRect t="631" b="631"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50" name="Shape 35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dk2">
              <a:alpha val="69800"/>
            </a:schemeClr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1" name="Shape 351"/>
          <p:cNvSpPr txBox="1"/>
          <p:nvPr/>
        </p:nvSpPr>
        <p:spPr>
          <a:xfrm>
            <a:off x="552560" y="1932408"/>
            <a:ext cx="3782400" cy="14343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SzPct val="25000"/>
              <a:buNone/>
            </a:pPr>
            <a:r>
              <a:rPr lang="en-US" sz="4800" b="1" i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Keep </a:t>
            </a:r>
            <a:br>
              <a:rPr lang="en-US" sz="4800" b="1" i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lang="en-US" sz="4800" b="1" i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n Touch</a:t>
            </a:r>
          </a:p>
        </p:txBody>
      </p:sp>
      <p:sp>
        <p:nvSpPr>
          <p:cNvPr id="352" name="Shape 352"/>
          <p:cNvSpPr txBox="1"/>
          <p:nvPr/>
        </p:nvSpPr>
        <p:spPr>
          <a:xfrm>
            <a:off x="5701966" y="2741893"/>
            <a:ext cx="3053400" cy="461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Century Gothic"/>
              <a:buNone/>
            </a:pPr>
            <a:r>
              <a:rPr lang="en-US" sz="800" b="1" i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BCGDV</a:t>
            </a:r>
            <a:r>
              <a:rPr lang="en-US" sz="800" b="0" i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 •  + 61 2 7200 2300  •  BCGDV.COM</a:t>
            </a: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buSzPct val="25000"/>
              <a:buNone/>
            </a:pPr>
            <a:r>
              <a:rPr lang="en-US" sz="800" b="0" i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EVEL 1, 80 GEORGE STREET, THE ROCKS, 2000</a:t>
            </a:r>
          </a:p>
        </p:txBody>
      </p:sp>
      <p:grpSp>
        <p:nvGrpSpPr>
          <p:cNvPr id="353" name="Shape 353"/>
          <p:cNvGrpSpPr/>
          <p:nvPr/>
        </p:nvGrpSpPr>
        <p:grpSpPr>
          <a:xfrm>
            <a:off x="5792921" y="2159914"/>
            <a:ext cx="930445" cy="490860"/>
            <a:chOff x="17463" y="1128712"/>
            <a:chExt cx="10080662" cy="5318100"/>
          </a:xfrm>
        </p:grpSpPr>
        <p:sp>
          <p:nvSpPr>
            <p:cNvPr id="354" name="Shape 354"/>
            <p:cNvSpPr/>
            <p:nvPr/>
          </p:nvSpPr>
          <p:spPr>
            <a:xfrm>
              <a:off x="17463" y="1128712"/>
              <a:ext cx="4603800" cy="53181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90" y="18230"/>
                  </a:moveTo>
                  <a:lnTo>
                    <a:pt x="119990" y="18230"/>
                  </a:lnTo>
                  <a:cubicBezTo>
                    <a:pt x="119990" y="17174"/>
                    <a:pt x="118996" y="16239"/>
                    <a:pt x="117766" y="16239"/>
                  </a:cubicBezTo>
                  <a:cubicBezTo>
                    <a:pt x="117156" y="16239"/>
                    <a:pt x="116622" y="16443"/>
                    <a:pt x="116237" y="16776"/>
                  </a:cubicBezTo>
                  <a:lnTo>
                    <a:pt x="116237" y="16776"/>
                  </a:lnTo>
                  <a:cubicBezTo>
                    <a:pt x="108730" y="22471"/>
                    <a:pt x="108730" y="22471"/>
                    <a:pt x="108730" y="22471"/>
                  </a:cubicBezTo>
                  <a:lnTo>
                    <a:pt x="108730" y="22471"/>
                  </a:lnTo>
                  <a:cubicBezTo>
                    <a:pt x="108730" y="22544"/>
                    <a:pt x="108655" y="22609"/>
                    <a:pt x="108580" y="22674"/>
                  </a:cubicBezTo>
                  <a:cubicBezTo>
                    <a:pt x="108196" y="22942"/>
                    <a:pt x="107661" y="23072"/>
                    <a:pt x="107201" y="23072"/>
                  </a:cubicBezTo>
                  <a:cubicBezTo>
                    <a:pt x="106816" y="23072"/>
                    <a:pt x="106432" y="23007"/>
                    <a:pt x="106131" y="22869"/>
                  </a:cubicBezTo>
                  <a:cubicBezTo>
                    <a:pt x="106056" y="22804"/>
                    <a:pt x="105981" y="22804"/>
                    <a:pt x="105981" y="22739"/>
                  </a:cubicBezTo>
                  <a:cubicBezTo>
                    <a:pt x="105672" y="22609"/>
                    <a:pt x="105672" y="22609"/>
                    <a:pt x="105672" y="22609"/>
                  </a:cubicBezTo>
                  <a:cubicBezTo>
                    <a:pt x="61262" y="333"/>
                    <a:pt x="61262" y="333"/>
                    <a:pt x="61262" y="333"/>
                  </a:cubicBezTo>
                  <a:cubicBezTo>
                    <a:pt x="61186" y="268"/>
                    <a:pt x="61186" y="268"/>
                    <a:pt x="61186" y="268"/>
                  </a:cubicBezTo>
                  <a:lnTo>
                    <a:pt x="61186" y="268"/>
                  </a:lnTo>
                  <a:cubicBezTo>
                    <a:pt x="60877" y="129"/>
                    <a:pt x="60492" y="0"/>
                    <a:pt x="60107" y="0"/>
                  </a:cubicBezTo>
                  <a:cubicBezTo>
                    <a:pt x="59648" y="0"/>
                    <a:pt x="59263" y="129"/>
                    <a:pt x="58888" y="333"/>
                  </a:cubicBezTo>
                  <a:cubicBezTo>
                    <a:pt x="58888" y="268"/>
                    <a:pt x="58888" y="268"/>
                    <a:pt x="58888" y="268"/>
                  </a:cubicBezTo>
                  <a:cubicBezTo>
                    <a:pt x="1229" y="29303"/>
                    <a:pt x="1229" y="29303"/>
                    <a:pt x="1229" y="29303"/>
                  </a:cubicBezTo>
                  <a:cubicBezTo>
                    <a:pt x="1144" y="29303"/>
                    <a:pt x="1144" y="29368"/>
                    <a:pt x="1069" y="29368"/>
                  </a:cubicBezTo>
                  <a:cubicBezTo>
                    <a:pt x="459" y="29701"/>
                    <a:pt x="0" y="30367"/>
                    <a:pt x="0" y="31025"/>
                  </a:cubicBezTo>
                  <a:cubicBezTo>
                    <a:pt x="0" y="101688"/>
                    <a:pt x="0" y="101688"/>
                    <a:pt x="0" y="101688"/>
                  </a:cubicBezTo>
                  <a:cubicBezTo>
                    <a:pt x="0" y="102817"/>
                    <a:pt x="994" y="103678"/>
                    <a:pt x="2298" y="103678"/>
                  </a:cubicBezTo>
                  <a:cubicBezTo>
                    <a:pt x="2833" y="103678"/>
                    <a:pt x="3293" y="103483"/>
                    <a:pt x="3753" y="103215"/>
                  </a:cubicBezTo>
                  <a:cubicBezTo>
                    <a:pt x="3828" y="103150"/>
                    <a:pt x="3828" y="103150"/>
                    <a:pt x="3828" y="103150"/>
                  </a:cubicBezTo>
                  <a:cubicBezTo>
                    <a:pt x="11334" y="97382"/>
                    <a:pt x="11334" y="97382"/>
                    <a:pt x="11334" y="97382"/>
                  </a:cubicBezTo>
                  <a:lnTo>
                    <a:pt x="11334" y="97382"/>
                  </a:lnTo>
                  <a:cubicBezTo>
                    <a:pt x="11719" y="97049"/>
                    <a:pt x="12254" y="96854"/>
                    <a:pt x="12864" y="96854"/>
                  </a:cubicBezTo>
                  <a:cubicBezTo>
                    <a:pt x="13248" y="96854"/>
                    <a:pt x="13549" y="96984"/>
                    <a:pt x="13933" y="97114"/>
                  </a:cubicBezTo>
                  <a:cubicBezTo>
                    <a:pt x="13933" y="97114"/>
                    <a:pt x="14008" y="97114"/>
                    <a:pt x="14008" y="97179"/>
                  </a:cubicBezTo>
                  <a:lnTo>
                    <a:pt x="14008" y="97179"/>
                  </a:lnTo>
                  <a:cubicBezTo>
                    <a:pt x="14393" y="97317"/>
                    <a:pt x="14393" y="97317"/>
                    <a:pt x="14393" y="97317"/>
                  </a:cubicBezTo>
                  <a:cubicBezTo>
                    <a:pt x="58888" y="119723"/>
                    <a:pt x="58888" y="119723"/>
                    <a:pt x="58888" y="119723"/>
                  </a:cubicBezTo>
                  <a:cubicBezTo>
                    <a:pt x="59038" y="119788"/>
                    <a:pt x="59038" y="119788"/>
                    <a:pt x="59038" y="119788"/>
                  </a:cubicBezTo>
                  <a:lnTo>
                    <a:pt x="59038" y="119788"/>
                  </a:lnTo>
                  <a:cubicBezTo>
                    <a:pt x="59347" y="119918"/>
                    <a:pt x="59723" y="119991"/>
                    <a:pt x="60107" y="119991"/>
                  </a:cubicBezTo>
                  <a:cubicBezTo>
                    <a:pt x="60417" y="119991"/>
                    <a:pt x="60802" y="119918"/>
                    <a:pt x="61027" y="119853"/>
                  </a:cubicBezTo>
                  <a:cubicBezTo>
                    <a:pt x="61027" y="119853"/>
                    <a:pt x="61102" y="119853"/>
                    <a:pt x="61102" y="119788"/>
                  </a:cubicBezTo>
                  <a:cubicBezTo>
                    <a:pt x="61337" y="119658"/>
                    <a:pt x="61337" y="119658"/>
                    <a:pt x="61337" y="119658"/>
                  </a:cubicBezTo>
                  <a:cubicBezTo>
                    <a:pt x="118686" y="90818"/>
                    <a:pt x="118686" y="90818"/>
                    <a:pt x="118686" y="90818"/>
                  </a:cubicBezTo>
                  <a:cubicBezTo>
                    <a:pt x="119071" y="90688"/>
                    <a:pt x="119071" y="90688"/>
                    <a:pt x="119071" y="90688"/>
                  </a:cubicBezTo>
                  <a:cubicBezTo>
                    <a:pt x="119605" y="90290"/>
                    <a:pt x="119990" y="89689"/>
                    <a:pt x="119990" y="89031"/>
                  </a:cubicBezTo>
                  <a:lnTo>
                    <a:pt x="119990" y="89031"/>
                  </a:lnTo>
                  <a:cubicBezTo>
                    <a:pt x="119990" y="18230"/>
                    <a:pt x="119990" y="18230"/>
                    <a:pt x="119990" y="18230"/>
                  </a:cubicBezTo>
                  <a:close/>
                  <a:moveTo>
                    <a:pt x="105672" y="81865"/>
                  </a:moveTo>
                  <a:lnTo>
                    <a:pt x="105672" y="81865"/>
                  </a:lnTo>
                  <a:cubicBezTo>
                    <a:pt x="105596" y="81865"/>
                    <a:pt x="105596" y="81865"/>
                    <a:pt x="105596" y="81865"/>
                  </a:cubicBezTo>
                  <a:cubicBezTo>
                    <a:pt x="105596" y="82531"/>
                    <a:pt x="105287" y="83125"/>
                    <a:pt x="104677" y="83458"/>
                  </a:cubicBezTo>
                  <a:cubicBezTo>
                    <a:pt x="104517" y="83523"/>
                    <a:pt x="104442" y="83588"/>
                    <a:pt x="104292" y="83661"/>
                  </a:cubicBezTo>
                  <a:cubicBezTo>
                    <a:pt x="61337" y="105271"/>
                    <a:pt x="61337" y="105271"/>
                    <a:pt x="61337" y="105271"/>
                  </a:cubicBezTo>
                  <a:lnTo>
                    <a:pt x="61337" y="105271"/>
                  </a:lnTo>
                  <a:cubicBezTo>
                    <a:pt x="61262" y="105336"/>
                    <a:pt x="61186" y="105336"/>
                    <a:pt x="61027" y="105401"/>
                  </a:cubicBezTo>
                  <a:lnTo>
                    <a:pt x="61027" y="105401"/>
                  </a:lnTo>
                  <a:cubicBezTo>
                    <a:pt x="60717" y="105539"/>
                    <a:pt x="60417" y="105604"/>
                    <a:pt x="60032" y="105604"/>
                  </a:cubicBezTo>
                  <a:cubicBezTo>
                    <a:pt x="59648" y="105604"/>
                    <a:pt x="59263" y="105539"/>
                    <a:pt x="58963" y="105336"/>
                  </a:cubicBezTo>
                  <a:lnTo>
                    <a:pt x="58963" y="105336"/>
                  </a:lnTo>
                  <a:cubicBezTo>
                    <a:pt x="58963" y="105336"/>
                    <a:pt x="58888" y="105336"/>
                    <a:pt x="58888" y="105271"/>
                  </a:cubicBezTo>
                  <a:cubicBezTo>
                    <a:pt x="25418" y="88495"/>
                    <a:pt x="25418" y="88495"/>
                    <a:pt x="25418" y="88495"/>
                  </a:cubicBezTo>
                  <a:cubicBezTo>
                    <a:pt x="25193" y="88365"/>
                    <a:pt x="25193" y="88365"/>
                    <a:pt x="25193" y="88365"/>
                  </a:cubicBezTo>
                  <a:cubicBezTo>
                    <a:pt x="24883" y="88235"/>
                    <a:pt x="24499" y="88170"/>
                    <a:pt x="24198" y="88170"/>
                  </a:cubicBezTo>
                  <a:cubicBezTo>
                    <a:pt x="23589" y="88170"/>
                    <a:pt x="23044" y="88365"/>
                    <a:pt x="22669" y="88698"/>
                  </a:cubicBezTo>
                  <a:lnTo>
                    <a:pt x="22669" y="88698"/>
                  </a:lnTo>
                  <a:cubicBezTo>
                    <a:pt x="18296" y="92012"/>
                    <a:pt x="18296" y="92012"/>
                    <a:pt x="18296" y="92012"/>
                  </a:cubicBezTo>
                  <a:cubicBezTo>
                    <a:pt x="18221" y="92142"/>
                    <a:pt x="18071" y="92207"/>
                    <a:pt x="17996" y="92272"/>
                  </a:cubicBezTo>
                  <a:lnTo>
                    <a:pt x="17996" y="92272"/>
                  </a:lnTo>
                  <a:cubicBezTo>
                    <a:pt x="17612" y="92475"/>
                    <a:pt x="17152" y="92670"/>
                    <a:pt x="16617" y="92670"/>
                  </a:cubicBezTo>
                  <a:cubicBezTo>
                    <a:pt x="15388" y="92670"/>
                    <a:pt x="14393" y="91744"/>
                    <a:pt x="14393" y="90688"/>
                  </a:cubicBezTo>
                  <a:cubicBezTo>
                    <a:pt x="14393" y="38516"/>
                    <a:pt x="14393" y="38516"/>
                    <a:pt x="14393" y="38516"/>
                  </a:cubicBezTo>
                  <a:cubicBezTo>
                    <a:pt x="14393" y="38451"/>
                    <a:pt x="14393" y="38386"/>
                    <a:pt x="14393" y="38321"/>
                  </a:cubicBezTo>
                  <a:cubicBezTo>
                    <a:pt x="14393" y="38182"/>
                    <a:pt x="14393" y="38117"/>
                    <a:pt x="14393" y="38052"/>
                  </a:cubicBezTo>
                  <a:cubicBezTo>
                    <a:pt x="14468" y="37459"/>
                    <a:pt x="14853" y="36923"/>
                    <a:pt x="15388" y="36663"/>
                  </a:cubicBezTo>
                  <a:cubicBezTo>
                    <a:pt x="15463" y="36598"/>
                    <a:pt x="15547" y="36533"/>
                    <a:pt x="15622" y="36533"/>
                  </a:cubicBezTo>
                  <a:cubicBezTo>
                    <a:pt x="58888" y="14785"/>
                    <a:pt x="58888" y="14785"/>
                    <a:pt x="58888" y="14785"/>
                  </a:cubicBezTo>
                  <a:lnTo>
                    <a:pt x="58888" y="14785"/>
                  </a:lnTo>
                  <a:cubicBezTo>
                    <a:pt x="59263" y="14582"/>
                    <a:pt x="59648" y="14452"/>
                    <a:pt x="60107" y="14452"/>
                  </a:cubicBezTo>
                  <a:cubicBezTo>
                    <a:pt x="60492" y="14452"/>
                    <a:pt x="60877" y="14582"/>
                    <a:pt x="61186" y="14720"/>
                  </a:cubicBezTo>
                  <a:lnTo>
                    <a:pt x="61186" y="14720"/>
                  </a:lnTo>
                  <a:cubicBezTo>
                    <a:pt x="94487" y="31488"/>
                    <a:pt x="94487" y="31488"/>
                    <a:pt x="94487" y="31488"/>
                  </a:cubicBezTo>
                  <a:cubicBezTo>
                    <a:pt x="94797" y="31626"/>
                    <a:pt x="94797" y="31626"/>
                    <a:pt x="94797" y="31626"/>
                  </a:cubicBezTo>
                  <a:cubicBezTo>
                    <a:pt x="95106" y="31756"/>
                    <a:pt x="95491" y="31821"/>
                    <a:pt x="95791" y="31821"/>
                  </a:cubicBezTo>
                  <a:cubicBezTo>
                    <a:pt x="96326" y="31821"/>
                    <a:pt x="96786" y="31691"/>
                    <a:pt x="97171" y="31423"/>
                  </a:cubicBezTo>
                  <a:cubicBezTo>
                    <a:pt x="97480" y="31228"/>
                    <a:pt x="97480" y="31228"/>
                    <a:pt x="97480" y="31228"/>
                  </a:cubicBezTo>
                  <a:cubicBezTo>
                    <a:pt x="101843" y="27841"/>
                    <a:pt x="101843" y="27841"/>
                    <a:pt x="101843" y="27841"/>
                  </a:cubicBezTo>
                  <a:lnTo>
                    <a:pt x="101843" y="27841"/>
                  </a:lnTo>
                  <a:cubicBezTo>
                    <a:pt x="102228" y="27516"/>
                    <a:pt x="102763" y="27312"/>
                    <a:pt x="103373" y="27312"/>
                  </a:cubicBezTo>
                  <a:cubicBezTo>
                    <a:pt x="104602" y="27312"/>
                    <a:pt x="105596" y="28109"/>
                    <a:pt x="105672" y="29173"/>
                  </a:cubicBezTo>
                  <a:cubicBezTo>
                    <a:pt x="105672" y="29238"/>
                    <a:pt x="105672" y="29238"/>
                    <a:pt x="105672" y="29303"/>
                  </a:cubicBezTo>
                  <a:lnTo>
                    <a:pt x="105672" y="29368"/>
                  </a:lnTo>
                  <a:cubicBezTo>
                    <a:pt x="105672" y="37061"/>
                    <a:pt x="105672" y="37061"/>
                    <a:pt x="105672" y="37061"/>
                  </a:cubicBezTo>
                  <a:lnTo>
                    <a:pt x="105672" y="81865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Shape 355"/>
            <p:cNvSpPr/>
            <p:nvPr/>
          </p:nvSpPr>
          <p:spPr>
            <a:xfrm>
              <a:off x="5681662" y="2157413"/>
              <a:ext cx="531900" cy="6906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0324" y="0"/>
                  </a:moveTo>
                  <a:lnTo>
                    <a:pt x="60324" y="0"/>
                  </a:lnTo>
                  <a:cubicBezTo>
                    <a:pt x="92801" y="0"/>
                    <a:pt x="116589" y="8692"/>
                    <a:pt x="116589" y="31641"/>
                  </a:cubicBezTo>
                  <a:cubicBezTo>
                    <a:pt x="116589" y="45461"/>
                    <a:pt x="107334" y="54590"/>
                    <a:pt x="93450" y="58155"/>
                  </a:cubicBezTo>
                  <a:cubicBezTo>
                    <a:pt x="108633" y="62282"/>
                    <a:pt x="119918" y="71974"/>
                    <a:pt x="119918" y="86732"/>
                  </a:cubicBezTo>
                  <a:cubicBezTo>
                    <a:pt x="119918" y="110244"/>
                    <a:pt x="97428" y="119937"/>
                    <a:pt x="62922" y="119937"/>
                  </a:cubicBezTo>
                  <a:cubicBezTo>
                    <a:pt x="0" y="119937"/>
                    <a:pt x="0" y="119937"/>
                    <a:pt x="0" y="1199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0324" y="0"/>
                  </a:lnTo>
                  <a:close/>
                  <a:moveTo>
                    <a:pt x="17861" y="12756"/>
                  </a:moveTo>
                  <a:lnTo>
                    <a:pt x="17861" y="12756"/>
                  </a:lnTo>
                  <a:cubicBezTo>
                    <a:pt x="17861" y="52589"/>
                    <a:pt x="17861" y="52589"/>
                    <a:pt x="17861" y="52589"/>
                  </a:cubicBezTo>
                  <a:cubicBezTo>
                    <a:pt x="59594" y="52589"/>
                    <a:pt x="59594" y="52589"/>
                    <a:pt x="59594" y="52589"/>
                  </a:cubicBezTo>
                  <a:cubicBezTo>
                    <a:pt x="81515" y="52589"/>
                    <a:pt x="98078" y="49025"/>
                    <a:pt x="98078" y="32704"/>
                  </a:cubicBezTo>
                  <a:cubicBezTo>
                    <a:pt x="98078" y="16883"/>
                    <a:pt x="80784" y="12756"/>
                    <a:pt x="59594" y="12756"/>
                  </a:cubicBezTo>
                  <a:lnTo>
                    <a:pt x="17861" y="12756"/>
                  </a:lnTo>
                  <a:close/>
                  <a:moveTo>
                    <a:pt x="17861" y="65846"/>
                  </a:moveTo>
                  <a:lnTo>
                    <a:pt x="17861" y="65846"/>
                  </a:lnTo>
                  <a:cubicBezTo>
                    <a:pt x="17861" y="107180"/>
                    <a:pt x="17861" y="107180"/>
                    <a:pt x="17861" y="107180"/>
                  </a:cubicBezTo>
                  <a:cubicBezTo>
                    <a:pt x="62273" y="107180"/>
                    <a:pt x="62273" y="107180"/>
                    <a:pt x="62273" y="107180"/>
                  </a:cubicBezTo>
                  <a:cubicBezTo>
                    <a:pt x="85493" y="107180"/>
                    <a:pt x="101407" y="102615"/>
                    <a:pt x="101407" y="86232"/>
                  </a:cubicBezTo>
                  <a:cubicBezTo>
                    <a:pt x="101407" y="70411"/>
                    <a:pt x="85493" y="65846"/>
                    <a:pt x="62273" y="65846"/>
                  </a:cubicBezTo>
                  <a:lnTo>
                    <a:pt x="17861" y="6584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Shape 356"/>
            <p:cNvSpPr/>
            <p:nvPr/>
          </p:nvSpPr>
          <p:spPr>
            <a:xfrm>
              <a:off x="6313487" y="2147888"/>
              <a:ext cx="641400" cy="711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32" y="23744"/>
                  </a:moveTo>
                  <a:lnTo>
                    <a:pt x="119932" y="23744"/>
                  </a:lnTo>
                  <a:cubicBezTo>
                    <a:pt x="107258" y="31700"/>
                    <a:pt x="107258" y="31700"/>
                    <a:pt x="107258" y="31700"/>
                  </a:cubicBezTo>
                  <a:cubicBezTo>
                    <a:pt x="99033" y="19797"/>
                    <a:pt x="84134" y="12874"/>
                    <a:pt x="67078" y="12874"/>
                  </a:cubicBezTo>
                  <a:cubicBezTo>
                    <a:pt x="37955" y="12874"/>
                    <a:pt x="15910" y="31700"/>
                    <a:pt x="15910" y="59939"/>
                  </a:cubicBezTo>
                  <a:cubicBezTo>
                    <a:pt x="15910" y="87692"/>
                    <a:pt x="37955" y="107004"/>
                    <a:pt x="67078" y="107004"/>
                  </a:cubicBezTo>
                  <a:cubicBezTo>
                    <a:pt x="84134" y="107004"/>
                    <a:pt x="98426" y="100080"/>
                    <a:pt x="107258" y="88178"/>
                  </a:cubicBezTo>
                  <a:cubicBezTo>
                    <a:pt x="119325" y="96133"/>
                    <a:pt x="119325" y="96133"/>
                    <a:pt x="119325" y="96133"/>
                  </a:cubicBezTo>
                  <a:cubicBezTo>
                    <a:pt x="108876" y="111012"/>
                    <a:pt x="89123" y="119939"/>
                    <a:pt x="67078" y="119939"/>
                  </a:cubicBezTo>
                  <a:cubicBezTo>
                    <a:pt x="28584" y="119939"/>
                    <a:pt x="0" y="94676"/>
                    <a:pt x="0" y="59939"/>
                  </a:cubicBezTo>
                  <a:cubicBezTo>
                    <a:pt x="0" y="24777"/>
                    <a:pt x="28584" y="0"/>
                    <a:pt x="67078" y="0"/>
                  </a:cubicBezTo>
                  <a:cubicBezTo>
                    <a:pt x="89662" y="0"/>
                    <a:pt x="109415" y="8927"/>
                    <a:pt x="119932" y="23744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Shape 357"/>
            <p:cNvSpPr/>
            <p:nvPr/>
          </p:nvSpPr>
          <p:spPr>
            <a:xfrm>
              <a:off x="7024688" y="2147888"/>
              <a:ext cx="690600" cy="711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744" y="19311"/>
                  </a:moveTo>
                  <a:lnTo>
                    <a:pt x="108744" y="19311"/>
                  </a:lnTo>
                  <a:cubicBezTo>
                    <a:pt x="98488" y="28724"/>
                    <a:pt x="98488" y="28724"/>
                    <a:pt x="98488" y="28724"/>
                  </a:cubicBezTo>
                  <a:cubicBezTo>
                    <a:pt x="89859" y="18825"/>
                    <a:pt x="77102" y="12874"/>
                    <a:pt x="62282" y="12874"/>
                  </a:cubicBezTo>
                  <a:cubicBezTo>
                    <a:pt x="35205" y="12874"/>
                    <a:pt x="14820" y="31700"/>
                    <a:pt x="14820" y="59939"/>
                  </a:cubicBezTo>
                  <a:cubicBezTo>
                    <a:pt x="14820" y="87692"/>
                    <a:pt x="35205" y="107004"/>
                    <a:pt x="61782" y="107004"/>
                  </a:cubicBezTo>
                  <a:cubicBezTo>
                    <a:pt x="86795" y="107004"/>
                    <a:pt x="102615" y="92186"/>
                    <a:pt x="104616" y="68380"/>
                  </a:cubicBezTo>
                  <a:cubicBezTo>
                    <a:pt x="67410" y="68380"/>
                    <a:pt x="67410" y="68380"/>
                    <a:pt x="67410" y="68380"/>
                  </a:cubicBezTo>
                  <a:cubicBezTo>
                    <a:pt x="67410" y="55991"/>
                    <a:pt x="67410" y="55991"/>
                    <a:pt x="67410" y="55991"/>
                  </a:cubicBezTo>
                  <a:cubicBezTo>
                    <a:pt x="119437" y="55991"/>
                    <a:pt x="119437" y="55991"/>
                    <a:pt x="119437" y="55991"/>
                  </a:cubicBezTo>
                  <a:cubicBezTo>
                    <a:pt x="119937" y="56963"/>
                    <a:pt x="119937" y="57935"/>
                    <a:pt x="119937" y="59453"/>
                  </a:cubicBezTo>
                  <a:cubicBezTo>
                    <a:pt x="119937" y="93157"/>
                    <a:pt x="97488" y="119939"/>
                    <a:pt x="61782" y="119939"/>
                  </a:cubicBezTo>
                  <a:cubicBezTo>
                    <a:pt x="30140" y="119939"/>
                    <a:pt x="0" y="97591"/>
                    <a:pt x="0" y="59939"/>
                  </a:cubicBezTo>
                  <a:cubicBezTo>
                    <a:pt x="0" y="24777"/>
                    <a:pt x="26576" y="0"/>
                    <a:pt x="62282" y="0"/>
                  </a:cubicBezTo>
                  <a:cubicBezTo>
                    <a:pt x="81167" y="0"/>
                    <a:pt x="97488" y="7408"/>
                    <a:pt x="108744" y="1931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Shape 358"/>
            <p:cNvSpPr/>
            <p:nvPr/>
          </p:nvSpPr>
          <p:spPr>
            <a:xfrm>
              <a:off x="5684837" y="3176588"/>
              <a:ext cx="700200" cy="7635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1940" y="0"/>
                  </a:moveTo>
                  <a:lnTo>
                    <a:pt x="51940" y="0"/>
                  </a:lnTo>
                  <a:cubicBezTo>
                    <a:pt x="92763" y="0"/>
                    <a:pt x="119938" y="23977"/>
                    <a:pt x="119938" y="60000"/>
                  </a:cubicBezTo>
                  <a:cubicBezTo>
                    <a:pt x="119938" y="95966"/>
                    <a:pt x="92763" y="119943"/>
                    <a:pt x="51940" y="119943"/>
                  </a:cubicBezTo>
                  <a:cubicBezTo>
                    <a:pt x="0" y="119943"/>
                    <a:pt x="0" y="119943"/>
                    <a:pt x="0" y="11994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1940" y="0"/>
                  </a:lnTo>
                  <a:close/>
                  <a:moveTo>
                    <a:pt x="21183" y="18435"/>
                  </a:moveTo>
                  <a:lnTo>
                    <a:pt x="21183" y="18435"/>
                  </a:lnTo>
                  <a:cubicBezTo>
                    <a:pt x="21183" y="101451"/>
                    <a:pt x="21183" y="101451"/>
                    <a:pt x="21183" y="101451"/>
                  </a:cubicBezTo>
                  <a:cubicBezTo>
                    <a:pt x="51940" y="101451"/>
                    <a:pt x="51940" y="101451"/>
                    <a:pt x="51940" y="101451"/>
                  </a:cubicBezTo>
                  <a:cubicBezTo>
                    <a:pt x="82635" y="101451"/>
                    <a:pt x="97766" y="83977"/>
                    <a:pt x="97766" y="60000"/>
                  </a:cubicBezTo>
                  <a:cubicBezTo>
                    <a:pt x="97766" y="35513"/>
                    <a:pt x="82635" y="18435"/>
                    <a:pt x="51940" y="18435"/>
                  </a:cubicBezTo>
                  <a:lnTo>
                    <a:pt x="21183" y="18435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Shape 359"/>
            <p:cNvSpPr/>
            <p:nvPr/>
          </p:nvSpPr>
          <p:spPr>
            <a:xfrm>
              <a:off x="6483350" y="3155950"/>
              <a:ext cx="158700" cy="784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6606" y="24726"/>
                    <a:pt x="0" y="19329"/>
                    <a:pt x="0" y="12556"/>
                  </a:cubicBezTo>
                  <a:cubicBezTo>
                    <a:pt x="0" y="5396"/>
                    <a:pt x="26606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3981" y="119944"/>
                  </a:moveTo>
                  <a:lnTo>
                    <a:pt x="103981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3981" y="39981"/>
                    <a:pt x="103981" y="39981"/>
                    <a:pt x="103981" y="39981"/>
                  </a:cubicBezTo>
                  <a:lnTo>
                    <a:pt x="103981" y="1199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Shape 360"/>
            <p:cNvSpPr/>
            <p:nvPr/>
          </p:nvSpPr>
          <p:spPr>
            <a:xfrm>
              <a:off x="6727825" y="3402012"/>
              <a:ext cx="531900" cy="7635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4100" y="11988"/>
                  </a:moveTo>
                  <a:lnTo>
                    <a:pt x="94100" y="11988"/>
                  </a:lnTo>
                  <a:cubicBezTo>
                    <a:pt x="94100" y="2318"/>
                    <a:pt x="94100" y="2318"/>
                    <a:pt x="94100" y="2318"/>
                  </a:cubicBezTo>
                  <a:cubicBezTo>
                    <a:pt x="119918" y="2318"/>
                    <a:pt x="119918" y="2318"/>
                    <a:pt x="119918" y="2318"/>
                  </a:cubicBezTo>
                  <a:cubicBezTo>
                    <a:pt x="119918" y="78435"/>
                    <a:pt x="119918" y="78435"/>
                    <a:pt x="119918" y="78435"/>
                  </a:cubicBezTo>
                  <a:cubicBezTo>
                    <a:pt x="119918" y="104278"/>
                    <a:pt x="96048" y="119943"/>
                    <a:pt x="56995" y="119943"/>
                  </a:cubicBezTo>
                  <a:cubicBezTo>
                    <a:pt x="39133" y="119943"/>
                    <a:pt x="19891" y="116720"/>
                    <a:pt x="7307" y="110725"/>
                  </a:cubicBezTo>
                  <a:cubicBezTo>
                    <a:pt x="16562" y="95457"/>
                    <a:pt x="16562" y="95457"/>
                    <a:pt x="16562" y="95457"/>
                  </a:cubicBezTo>
                  <a:cubicBezTo>
                    <a:pt x="28497" y="100546"/>
                    <a:pt x="42462" y="103770"/>
                    <a:pt x="56995" y="103770"/>
                  </a:cubicBezTo>
                  <a:cubicBezTo>
                    <a:pt x="80866" y="103770"/>
                    <a:pt x="94100" y="94552"/>
                    <a:pt x="94100" y="79340"/>
                  </a:cubicBezTo>
                  <a:cubicBezTo>
                    <a:pt x="94100" y="72893"/>
                    <a:pt x="94100" y="72893"/>
                    <a:pt x="94100" y="72893"/>
                  </a:cubicBezTo>
                  <a:cubicBezTo>
                    <a:pt x="85493" y="80697"/>
                    <a:pt x="72259" y="84429"/>
                    <a:pt x="55047" y="84429"/>
                  </a:cubicBezTo>
                  <a:cubicBezTo>
                    <a:pt x="27848" y="84429"/>
                    <a:pt x="0" y="68708"/>
                    <a:pt x="0" y="42469"/>
                  </a:cubicBezTo>
                  <a:cubicBezTo>
                    <a:pt x="0" y="15721"/>
                    <a:pt x="27848" y="0"/>
                    <a:pt x="55047" y="0"/>
                  </a:cubicBezTo>
                  <a:cubicBezTo>
                    <a:pt x="72259" y="0"/>
                    <a:pt x="85493" y="4184"/>
                    <a:pt x="94100" y="11988"/>
                  </a:cubicBezTo>
                  <a:close/>
                  <a:moveTo>
                    <a:pt x="26549" y="42469"/>
                  </a:moveTo>
                  <a:lnTo>
                    <a:pt x="26549" y="42469"/>
                  </a:lnTo>
                  <a:cubicBezTo>
                    <a:pt x="26549" y="56324"/>
                    <a:pt x="39783" y="67803"/>
                    <a:pt x="61623" y="67803"/>
                  </a:cubicBezTo>
                  <a:cubicBezTo>
                    <a:pt x="82165" y="67803"/>
                    <a:pt x="96048" y="56776"/>
                    <a:pt x="96048" y="42469"/>
                  </a:cubicBezTo>
                  <a:cubicBezTo>
                    <a:pt x="96048" y="28162"/>
                    <a:pt x="82165" y="17078"/>
                    <a:pt x="61623" y="17078"/>
                  </a:cubicBezTo>
                  <a:cubicBezTo>
                    <a:pt x="39783" y="17078"/>
                    <a:pt x="26549" y="28614"/>
                    <a:pt x="26549" y="4246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Shape 361"/>
            <p:cNvSpPr/>
            <p:nvPr/>
          </p:nvSpPr>
          <p:spPr>
            <a:xfrm>
              <a:off x="7383463" y="3155950"/>
              <a:ext cx="158700" cy="784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4434" y="24726"/>
                    <a:pt x="0" y="19329"/>
                    <a:pt x="0" y="12556"/>
                  </a:cubicBezTo>
                  <a:cubicBezTo>
                    <a:pt x="0" y="5396"/>
                    <a:pt x="24434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4253" y="119944"/>
                  </a:moveTo>
                  <a:lnTo>
                    <a:pt x="104253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4253" y="39981"/>
                    <a:pt x="104253" y="39981"/>
                    <a:pt x="104253" y="39981"/>
                  </a:cubicBezTo>
                  <a:lnTo>
                    <a:pt x="104253" y="1199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Shape 362"/>
            <p:cNvSpPr/>
            <p:nvPr/>
          </p:nvSpPr>
          <p:spPr>
            <a:xfrm>
              <a:off x="7600950" y="3259138"/>
              <a:ext cx="452400" cy="6936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319" y="45295"/>
                  </a:moveTo>
                  <a:lnTo>
                    <a:pt x="111319" y="45295"/>
                  </a:lnTo>
                  <a:cubicBezTo>
                    <a:pt x="58378" y="45295"/>
                    <a:pt x="58378" y="45295"/>
                    <a:pt x="58378" y="45295"/>
                  </a:cubicBezTo>
                  <a:cubicBezTo>
                    <a:pt x="58378" y="84423"/>
                    <a:pt x="58378" y="84423"/>
                    <a:pt x="58378" y="84423"/>
                  </a:cubicBezTo>
                  <a:cubicBezTo>
                    <a:pt x="58378" y="96573"/>
                    <a:pt x="67726" y="101619"/>
                    <a:pt x="80222" y="101619"/>
                  </a:cubicBezTo>
                  <a:cubicBezTo>
                    <a:pt x="89475" y="101619"/>
                    <a:pt x="99682" y="98629"/>
                    <a:pt x="108171" y="95576"/>
                  </a:cubicBezTo>
                  <a:cubicBezTo>
                    <a:pt x="119904" y="111339"/>
                    <a:pt x="119904" y="111339"/>
                    <a:pt x="119904" y="111339"/>
                  </a:cubicBezTo>
                  <a:cubicBezTo>
                    <a:pt x="108934" y="115887"/>
                    <a:pt x="95007" y="119937"/>
                    <a:pt x="77837" y="119937"/>
                  </a:cubicBezTo>
                  <a:cubicBezTo>
                    <a:pt x="45882" y="119937"/>
                    <a:pt x="28044" y="108785"/>
                    <a:pt x="28044" y="84922"/>
                  </a:cubicBezTo>
                  <a:cubicBezTo>
                    <a:pt x="28044" y="45295"/>
                    <a:pt x="28044" y="45295"/>
                    <a:pt x="28044" y="45295"/>
                  </a:cubicBezTo>
                  <a:cubicBezTo>
                    <a:pt x="0" y="45295"/>
                    <a:pt x="0" y="45295"/>
                    <a:pt x="0" y="45295"/>
                  </a:cubicBezTo>
                  <a:cubicBezTo>
                    <a:pt x="0" y="27476"/>
                    <a:pt x="0" y="27476"/>
                    <a:pt x="0" y="27476"/>
                  </a:cubicBezTo>
                  <a:cubicBezTo>
                    <a:pt x="28044" y="27476"/>
                    <a:pt x="28044" y="27476"/>
                    <a:pt x="28044" y="27476"/>
                  </a:cubicBezTo>
                  <a:cubicBezTo>
                    <a:pt x="28044" y="0"/>
                    <a:pt x="28044" y="0"/>
                    <a:pt x="28044" y="0"/>
                  </a:cubicBezTo>
                  <a:cubicBezTo>
                    <a:pt x="58378" y="0"/>
                    <a:pt x="58378" y="0"/>
                    <a:pt x="58378" y="0"/>
                  </a:cubicBezTo>
                  <a:cubicBezTo>
                    <a:pt x="58378" y="27476"/>
                    <a:pt x="58378" y="27476"/>
                    <a:pt x="58378" y="27476"/>
                  </a:cubicBezTo>
                  <a:cubicBezTo>
                    <a:pt x="111319" y="27476"/>
                    <a:pt x="111319" y="27476"/>
                    <a:pt x="111319" y="27476"/>
                  </a:cubicBezTo>
                  <a:lnTo>
                    <a:pt x="111319" y="45295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Shape 363"/>
            <p:cNvSpPr/>
            <p:nvPr/>
          </p:nvSpPr>
          <p:spPr>
            <a:xfrm>
              <a:off x="8078788" y="3402012"/>
              <a:ext cx="538200" cy="549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9" y="117404"/>
                  </a:moveTo>
                  <a:lnTo>
                    <a:pt x="119919" y="117404"/>
                  </a:lnTo>
                  <a:cubicBezTo>
                    <a:pt x="94956" y="117404"/>
                    <a:pt x="94956" y="117404"/>
                    <a:pt x="94956" y="117404"/>
                  </a:cubicBezTo>
                  <a:cubicBezTo>
                    <a:pt x="94956" y="103250"/>
                    <a:pt x="94956" y="103250"/>
                    <a:pt x="94956" y="103250"/>
                  </a:cubicBezTo>
                  <a:cubicBezTo>
                    <a:pt x="86448" y="113551"/>
                    <a:pt x="74648" y="119921"/>
                    <a:pt x="58274" y="119921"/>
                  </a:cubicBezTo>
                  <a:cubicBezTo>
                    <a:pt x="25605" y="119921"/>
                    <a:pt x="0" y="94914"/>
                    <a:pt x="0" y="60314"/>
                  </a:cubicBezTo>
                  <a:cubicBezTo>
                    <a:pt x="0" y="25006"/>
                    <a:pt x="25605" y="0"/>
                    <a:pt x="58274" y="0"/>
                  </a:cubicBezTo>
                  <a:cubicBezTo>
                    <a:pt x="74648" y="0"/>
                    <a:pt x="86448" y="7077"/>
                    <a:pt x="94956" y="16671"/>
                  </a:cubicBezTo>
                  <a:cubicBezTo>
                    <a:pt x="94956" y="3224"/>
                    <a:pt x="94956" y="3224"/>
                    <a:pt x="94956" y="3224"/>
                  </a:cubicBezTo>
                  <a:cubicBezTo>
                    <a:pt x="119919" y="3224"/>
                    <a:pt x="119919" y="3224"/>
                    <a:pt x="119919" y="3224"/>
                  </a:cubicBezTo>
                  <a:lnTo>
                    <a:pt x="119919" y="117404"/>
                  </a:lnTo>
                  <a:close/>
                  <a:moveTo>
                    <a:pt x="26247" y="60314"/>
                  </a:moveTo>
                  <a:lnTo>
                    <a:pt x="26247" y="60314"/>
                  </a:lnTo>
                  <a:cubicBezTo>
                    <a:pt x="26247" y="80209"/>
                    <a:pt x="39331" y="96802"/>
                    <a:pt x="60923" y="96802"/>
                  </a:cubicBezTo>
                  <a:cubicBezTo>
                    <a:pt x="82515" y="96802"/>
                    <a:pt x="96321" y="80917"/>
                    <a:pt x="96321" y="60314"/>
                  </a:cubicBezTo>
                  <a:cubicBezTo>
                    <a:pt x="96321" y="39161"/>
                    <a:pt x="82515" y="23748"/>
                    <a:pt x="60923" y="23748"/>
                  </a:cubicBezTo>
                  <a:cubicBezTo>
                    <a:pt x="39331" y="23748"/>
                    <a:pt x="26247" y="40419"/>
                    <a:pt x="26247" y="603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Shape 364"/>
            <p:cNvSpPr/>
            <p:nvPr/>
          </p:nvSpPr>
          <p:spPr>
            <a:xfrm>
              <a:off x="8764588" y="3155950"/>
              <a:ext cx="114300" cy="784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623" y="119944"/>
                  </a:moveTo>
                  <a:lnTo>
                    <a:pt x="0" y="119944"/>
                  </a:lnTo>
                  <a:lnTo>
                    <a:pt x="0" y="0"/>
                  </a:lnTo>
                  <a:lnTo>
                    <a:pt x="119623" y="0"/>
                  </a:lnTo>
                  <a:lnTo>
                    <a:pt x="119623" y="119944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Shape 365"/>
            <p:cNvSpPr/>
            <p:nvPr/>
          </p:nvSpPr>
          <p:spPr>
            <a:xfrm>
              <a:off x="5640387" y="4265612"/>
              <a:ext cx="738300" cy="7635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2620" y="119943"/>
                  </a:moveTo>
                  <a:lnTo>
                    <a:pt x="47320" y="119943"/>
                  </a:lnTo>
                  <a:lnTo>
                    <a:pt x="0" y="0"/>
                  </a:lnTo>
                  <a:lnTo>
                    <a:pt x="21493" y="0"/>
                  </a:lnTo>
                  <a:lnTo>
                    <a:pt x="60204" y="100103"/>
                  </a:lnTo>
                  <a:lnTo>
                    <a:pt x="98916" y="0"/>
                  </a:lnTo>
                  <a:lnTo>
                    <a:pt x="119941" y="0"/>
                  </a:lnTo>
                  <a:lnTo>
                    <a:pt x="72620" y="119943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Shape 366"/>
            <p:cNvSpPr/>
            <p:nvPr/>
          </p:nvSpPr>
          <p:spPr>
            <a:xfrm>
              <a:off x="6362700" y="4494212"/>
              <a:ext cx="506400" cy="546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231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1565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071" y="50322"/>
                    <a:pt x="92071" y="50322"/>
                    <a:pt x="92071" y="50322"/>
                  </a:cubicBezTo>
                  <a:cubicBezTo>
                    <a:pt x="89252" y="32231"/>
                    <a:pt x="78064" y="21882"/>
                    <a:pt x="60640" y="21882"/>
                  </a:cubicBezTo>
                  <a:cubicBezTo>
                    <a:pt x="41850" y="21882"/>
                    <a:pt x="30661" y="33495"/>
                    <a:pt x="27928" y="503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Shape 367"/>
            <p:cNvSpPr/>
            <p:nvPr/>
          </p:nvSpPr>
          <p:spPr>
            <a:xfrm>
              <a:off x="6983413" y="4494212"/>
              <a:ext cx="485700" cy="5349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46110"/>
                  </a:moveTo>
                  <a:lnTo>
                    <a:pt x="119910" y="46110"/>
                  </a:lnTo>
                  <a:cubicBezTo>
                    <a:pt x="119910" y="119919"/>
                    <a:pt x="119910" y="119919"/>
                    <a:pt x="119910" y="119919"/>
                  </a:cubicBezTo>
                  <a:cubicBezTo>
                    <a:pt x="91513" y="119919"/>
                    <a:pt x="91513" y="119919"/>
                    <a:pt x="91513" y="119919"/>
                  </a:cubicBezTo>
                  <a:cubicBezTo>
                    <a:pt x="91513" y="54670"/>
                    <a:pt x="91513" y="54670"/>
                    <a:pt x="91513" y="54670"/>
                  </a:cubicBezTo>
                  <a:cubicBezTo>
                    <a:pt x="91513" y="34966"/>
                    <a:pt x="80652" y="23741"/>
                    <a:pt x="61780" y="23741"/>
                  </a:cubicBezTo>
                  <a:cubicBezTo>
                    <a:pt x="43620" y="23741"/>
                    <a:pt x="28308" y="34966"/>
                    <a:pt x="28308" y="54670"/>
                  </a:cubicBezTo>
                  <a:cubicBezTo>
                    <a:pt x="28308" y="119919"/>
                    <a:pt x="28308" y="119919"/>
                    <a:pt x="28308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27596" y="2664"/>
                    <a:pt x="27596" y="2664"/>
                    <a:pt x="27596" y="2664"/>
                  </a:cubicBezTo>
                  <a:cubicBezTo>
                    <a:pt x="27596" y="17119"/>
                    <a:pt x="27596" y="17119"/>
                    <a:pt x="27596" y="17119"/>
                  </a:cubicBezTo>
                  <a:cubicBezTo>
                    <a:pt x="37833" y="3310"/>
                    <a:pt x="54480" y="0"/>
                    <a:pt x="67566" y="0"/>
                  </a:cubicBezTo>
                  <a:cubicBezTo>
                    <a:pt x="98100" y="0"/>
                    <a:pt x="119910" y="19138"/>
                    <a:pt x="119910" y="46110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Shape 368"/>
            <p:cNvSpPr/>
            <p:nvPr/>
          </p:nvSpPr>
          <p:spPr>
            <a:xfrm>
              <a:off x="7542213" y="4348162"/>
              <a:ext cx="452400" cy="6936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0556" y="45210"/>
                  </a:moveTo>
                  <a:lnTo>
                    <a:pt x="110556" y="45210"/>
                  </a:lnTo>
                  <a:cubicBezTo>
                    <a:pt x="57615" y="45210"/>
                    <a:pt x="57615" y="45210"/>
                    <a:pt x="57615" y="45210"/>
                  </a:cubicBezTo>
                  <a:cubicBezTo>
                    <a:pt x="57615" y="84878"/>
                    <a:pt x="57615" y="84878"/>
                    <a:pt x="57615" y="84878"/>
                  </a:cubicBezTo>
                  <a:cubicBezTo>
                    <a:pt x="57615" y="97083"/>
                    <a:pt x="67726" y="101629"/>
                    <a:pt x="80127" y="101629"/>
                  </a:cubicBezTo>
                  <a:cubicBezTo>
                    <a:pt x="89475" y="101629"/>
                    <a:pt x="99586" y="98578"/>
                    <a:pt x="107408" y="95526"/>
                  </a:cubicBezTo>
                  <a:cubicBezTo>
                    <a:pt x="119904" y="111281"/>
                    <a:pt x="119904" y="111281"/>
                    <a:pt x="119904" y="111281"/>
                  </a:cubicBezTo>
                  <a:cubicBezTo>
                    <a:pt x="108171" y="115889"/>
                    <a:pt x="94149" y="119937"/>
                    <a:pt x="77074" y="119937"/>
                  </a:cubicBezTo>
                  <a:cubicBezTo>
                    <a:pt x="45882" y="119937"/>
                    <a:pt x="27186" y="109289"/>
                    <a:pt x="27186" y="84878"/>
                  </a:cubicBezTo>
                  <a:cubicBezTo>
                    <a:pt x="27186" y="45210"/>
                    <a:pt x="27186" y="45210"/>
                    <a:pt x="27186" y="45210"/>
                  </a:cubicBezTo>
                  <a:cubicBezTo>
                    <a:pt x="0" y="45210"/>
                    <a:pt x="0" y="45210"/>
                    <a:pt x="0" y="45210"/>
                  </a:cubicBezTo>
                  <a:cubicBezTo>
                    <a:pt x="0" y="27462"/>
                    <a:pt x="0" y="27462"/>
                    <a:pt x="0" y="27462"/>
                  </a:cubicBezTo>
                  <a:cubicBezTo>
                    <a:pt x="27186" y="27462"/>
                    <a:pt x="27186" y="27462"/>
                    <a:pt x="27186" y="27462"/>
                  </a:cubicBezTo>
                  <a:cubicBezTo>
                    <a:pt x="27186" y="0"/>
                    <a:pt x="27186" y="0"/>
                    <a:pt x="27186" y="0"/>
                  </a:cubicBezTo>
                  <a:cubicBezTo>
                    <a:pt x="57615" y="0"/>
                    <a:pt x="57615" y="0"/>
                    <a:pt x="57615" y="0"/>
                  </a:cubicBezTo>
                  <a:cubicBezTo>
                    <a:pt x="57615" y="27462"/>
                    <a:pt x="57615" y="27462"/>
                    <a:pt x="57615" y="27462"/>
                  </a:cubicBezTo>
                  <a:cubicBezTo>
                    <a:pt x="110556" y="27462"/>
                    <a:pt x="110556" y="27462"/>
                    <a:pt x="110556" y="27462"/>
                  </a:cubicBezTo>
                  <a:lnTo>
                    <a:pt x="110556" y="45210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Shape 369"/>
            <p:cNvSpPr/>
            <p:nvPr/>
          </p:nvSpPr>
          <p:spPr>
            <a:xfrm>
              <a:off x="8050213" y="4506912"/>
              <a:ext cx="485700" cy="5349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67187"/>
                  </a:moveTo>
                  <a:lnTo>
                    <a:pt x="119910" y="67187"/>
                  </a:lnTo>
                  <a:cubicBezTo>
                    <a:pt x="119910" y="104737"/>
                    <a:pt x="90089" y="119919"/>
                    <a:pt x="59643" y="119919"/>
                  </a:cubicBezTo>
                  <a:cubicBezTo>
                    <a:pt x="29821" y="119919"/>
                    <a:pt x="0" y="104737"/>
                    <a:pt x="0" y="6718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397" y="0"/>
                    <a:pt x="28397" y="0"/>
                    <a:pt x="28397" y="0"/>
                  </a:cubicBezTo>
                  <a:cubicBezTo>
                    <a:pt x="28397" y="65168"/>
                    <a:pt x="28397" y="65168"/>
                    <a:pt x="28397" y="65168"/>
                  </a:cubicBezTo>
                  <a:cubicBezTo>
                    <a:pt x="28397" y="87617"/>
                    <a:pt x="42195" y="96177"/>
                    <a:pt x="59643" y="96177"/>
                  </a:cubicBezTo>
                  <a:cubicBezTo>
                    <a:pt x="77804" y="96177"/>
                    <a:pt x="91602" y="87617"/>
                    <a:pt x="91602" y="65168"/>
                  </a:cubicBezTo>
                  <a:cubicBezTo>
                    <a:pt x="91602" y="0"/>
                    <a:pt x="91602" y="0"/>
                    <a:pt x="91602" y="0"/>
                  </a:cubicBezTo>
                  <a:cubicBezTo>
                    <a:pt x="119910" y="0"/>
                    <a:pt x="119910" y="0"/>
                    <a:pt x="119910" y="0"/>
                  </a:cubicBezTo>
                  <a:lnTo>
                    <a:pt x="119910" y="67187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Shape 370"/>
            <p:cNvSpPr/>
            <p:nvPr/>
          </p:nvSpPr>
          <p:spPr>
            <a:xfrm>
              <a:off x="8675688" y="4494212"/>
              <a:ext cx="349200" cy="5349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76" y="3310"/>
                  </a:moveTo>
                  <a:lnTo>
                    <a:pt x="119876" y="3310"/>
                  </a:lnTo>
                  <a:cubicBezTo>
                    <a:pt x="110740" y="28344"/>
                    <a:pt x="110740" y="28344"/>
                    <a:pt x="110740" y="28344"/>
                  </a:cubicBezTo>
                  <a:cubicBezTo>
                    <a:pt x="102716" y="25679"/>
                    <a:pt x="90617" y="23741"/>
                    <a:pt x="81604" y="23741"/>
                  </a:cubicBezTo>
                  <a:cubicBezTo>
                    <a:pt x="56419" y="23741"/>
                    <a:pt x="38271" y="35612"/>
                    <a:pt x="38271" y="55397"/>
                  </a:cubicBezTo>
                  <a:cubicBezTo>
                    <a:pt x="38271" y="119919"/>
                    <a:pt x="38271" y="119919"/>
                    <a:pt x="38271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38271" y="2664"/>
                    <a:pt x="38271" y="2664"/>
                    <a:pt x="38271" y="2664"/>
                  </a:cubicBezTo>
                  <a:cubicBezTo>
                    <a:pt x="38271" y="15827"/>
                    <a:pt x="38271" y="15827"/>
                    <a:pt x="38271" y="15827"/>
                  </a:cubicBezTo>
                  <a:cubicBezTo>
                    <a:pt x="50370" y="4602"/>
                    <a:pt x="68518" y="0"/>
                    <a:pt x="90617" y="0"/>
                  </a:cubicBezTo>
                  <a:cubicBezTo>
                    <a:pt x="101728" y="0"/>
                    <a:pt x="110740" y="646"/>
                    <a:pt x="119876" y="3310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Shape 371"/>
            <p:cNvSpPr/>
            <p:nvPr/>
          </p:nvSpPr>
          <p:spPr>
            <a:xfrm>
              <a:off x="9063038" y="4494212"/>
              <a:ext cx="506400" cy="546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145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2249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669" y="50322"/>
                    <a:pt x="92669" y="50322"/>
                    <a:pt x="92669" y="50322"/>
                  </a:cubicBezTo>
                  <a:cubicBezTo>
                    <a:pt x="89252" y="32231"/>
                    <a:pt x="78064" y="21882"/>
                    <a:pt x="61323" y="21882"/>
                  </a:cubicBezTo>
                  <a:cubicBezTo>
                    <a:pt x="41850" y="21882"/>
                    <a:pt x="31345" y="33495"/>
                    <a:pt x="27928" y="503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Shape 372"/>
            <p:cNvSpPr/>
            <p:nvPr/>
          </p:nvSpPr>
          <p:spPr>
            <a:xfrm>
              <a:off x="9636125" y="4494212"/>
              <a:ext cx="462000" cy="546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3819" y="31599"/>
                  </a:moveTo>
                  <a:lnTo>
                    <a:pt x="103819" y="31599"/>
                  </a:lnTo>
                  <a:cubicBezTo>
                    <a:pt x="96243" y="27096"/>
                    <a:pt x="79407" y="21250"/>
                    <a:pt x="62665" y="21250"/>
                  </a:cubicBezTo>
                  <a:cubicBezTo>
                    <a:pt x="45830" y="21250"/>
                    <a:pt x="36664" y="27096"/>
                    <a:pt x="36664" y="35470"/>
                  </a:cubicBezTo>
                  <a:cubicBezTo>
                    <a:pt x="36664" y="43212"/>
                    <a:pt x="46578" y="45740"/>
                    <a:pt x="58830" y="47083"/>
                  </a:cubicBezTo>
                  <a:cubicBezTo>
                    <a:pt x="73328" y="48979"/>
                    <a:pt x="73328" y="48979"/>
                    <a:pt x="73328" y="48979"/>
                  </a:cubicBezTo>
                  <a:cubicBezTo>
                    <a:pt x="102322" y="52218"/>
                    <a:pt x="119906" y="63199"/>
                    <a:pt x="119906" y="82554"/>
                  </a:cubicBezTo>
                  <a:cubicBezTo>
                    <a:pt x="119906" y="104437"/>
                    <a:pt x="97739" y="119921"/>
                    <a:pt x="58830" y="119921"/>
                  </a:cubicBezTo>
                  <a:cubicBezTo>
                    <a:pt x="44333" y="119921"/>
                    <a:pt x="19922" y="117946"/>
                    <a:pt x="0" y="105069"/>
                  </a:cubicBezTo>
                  <a:cubicBezTo>
                    <a:pt x="13749" y="86425"/>
                    <a:pt x="13749" y="86425"/>
                    <a:pt x="13749" y="86425"/>
                  </a:cubicBezTo>
                  <a:cubicBezTo>
                    <a:pt x="23663" y="92824"/>
                    <a:pt x="36664" y="98038"/>
                    <a:pt x="58830" y="98038"/>
                  </a:cubicBezTo>
                  <a:cubicBezTo>
                    <a:pt x="78659" y="98038"/>
                    <a:pt x="89321" y="92824"/>
                    <a:pt x="89321" y="84450"/>
                  </a:cubicBezTo>
                  <a:cubicBezTo>
                    <a:pt x="89321" y="77972"/>
                    <a:pt x="82494" y="73469"/>
                    <a:pt x="66406" y="71573"/>
                  </a:cubicBezTo>
                  <a:cubicBezTo>
                    <a:pt x="51909" y="70309"/>
                    <a:pt x="51909" y="70309"/>
                    <a:pt x="51909" y="70309"/>
                  </a:cubicBezTo>
                  <a:cubicBezTo>
                    <a:pt x="22166" y="66359"/>
                    <a:pt x="6173" y="54825"/>
                    <a:pt x="6173" y="36734"/>
                  </a:cubicBezTo>
                  <a:cubicBezTo>
                    <a:pt x="6173" y="13508"/>
                    <a:pt x="27498" y="0"/>
                    <a:pt x="61917" y="0"/>
                  </a:cubicBezTo>
                  <a:cubicBezTo>
                    <a:pt x="83242" y="0"/>
                    <a:pt x="103070" y="4502"/>
                    <a:pt x="116819" y="11612"/>
                  </a:cubicBezTo>
                  <a:lnTo>
                    <a:pt x="103819" y="31599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eneral DV Cover Two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Shape 374"/>
          <p:cNvSpPr/>
          <p:nvPr/>
        </p:nvSpPr>
        <p:spPr>
          <a:xfrm>
            <a:off x="0" y="0"/>
            <a:ext cx="9144000" cy="45108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" name="Shape 375"/>
          <p:cNvSpPr/>
          <p:nvPr/>
        </p:nvSpPr>
        <p:spPr>
          <a:xfrm>
            <a:off x="-37" y="4510851"/>
            <a:ext cx="9144000" cy="6327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6" name="Shape 376"/>
          <p:cNvSpPr/>
          <p:nvPr/>
        </p:nvSpPr>
        <p:spPr>
          <a:xfrm>
            <a:off x="6224587" y="4710866"/>
            <a:ext cx="2919300" cy="2463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77" name="Shape 377"/>
          <p:cNvGrpSpPr/>
          <p:nvPr/>
        </p:nvGrpSpPr>
        <p:grpSpPr>
          <a:xfrm>
            <a:off x="6043863" y="4510851"/>
            <a:ext cx="1558485" cy="549300"/>
            <a:chOff x="4887571" y="4529180"/>
            <a:chExt cx="1558485" cy="549300"/>
          </a:xfrm>
        </p:grpSpPr>
        <p:cxnSp>
          <p:nvCxnSpPr>
            <p:cNvPr id="378" name="Shape 378"/>
            <p:cNvCxnSpPr/>
            <p:nvPr/>
          </p:nvCxnSpPr>
          <p:spPr>
            <a:xfrm flipH="1">
              <a:off x="5023632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79" name="Shape 379"/>
            <p:cNvCxnSpPr/>
            <p:nvPr/>
          </p:nvCxnSpPr>
          <p:spPr>
            <a:xfrm flipH="1">
              <a:off x="5125233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80" name="Shape 380"/>
            <p:cNvCxnSpPr/>
            <p:nvPr/>
          </p:nvCxnSpPr>
          <p:spPr>
            <a:xfrm flipH="1">
              <a:off x="5226835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81" name="Shape 381"/>
            <p:cNvCxnSpPr/>
            <p:nvPr/>
          </p:nvCxnSpPr>
          <p:spPr>
            <a:xfrm flipH="1">
              <a:off x="5328437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82" name="Shape 382"/>
            <p:cNvCxnSpPr/>
            <p:nvPr/>
          </p:nvCxnSpPr>
          <p:spPr>
            <a:xfrm flipH="1">
              <a:off x="5430039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83" name="Shape 383"/>
            <p:cNvCxnSpPr/>
            <p:nvPr/>
          </p:nvCxnSpPr>
          <p:spPr>
            <a:xfrm flipH="1">
              <a:off x="5531642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84" name="Shape 384"/>
            <p:cNvCxnSpPr/>
            <p:nvPr/>
          </p:nvCxnSpPr>
          <p:spPr>
            <a:xfrm flipH="1">
              <a:off x="5633244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85" name="Shape 385"/>
            <p:cNvCxnSpPr/>
            <p:nvPr/>
          </p:nvCxnSpPr>
          <p:spPr>
            <a:xfrm flipH="1">
              <a:off x="5734846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86" name="Shape 386"/>
            <p:cNvSpPr/>
            <p:nvPr/>
          </p:nvSpPr>
          <p:spPr>
            <a:xfrm rot="2120927">
              <a:off x="5003894" y="4560808"/>
              <a:ext cx="264453" cy="48604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87" name="Shape 387"/>
            <p:cNvCxnSpPr/>
            <p:nvPr/>
          </p:nvCxnSpPr>
          <p:spPr>
            <a:xfrm flipH="1">
              <a:off x="5836448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88" name="Shape 388"/>
            <p:cNvCxnSpPr/>
            <p:nvPr/>
          </p:nvCxnSpPr>
          <p:spPr>
            <a:xfrm flipH="1">
              <a:off x="5938050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89" name="Shape 389"/>
            <p:cNvCxnSpPr/>
            <p:nvPr/>
          </p:nvCxnSpPr>
          <p:spPr>
            <a:xfrm flipH="1">
              <a:off x="6039651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90" name="Shape 390"/>
            <p:cNvCxnSpPr/>
            <p:nvPr/>
          </p:nvCxnSpPr>
          <p:spPr>
            <a:xfrm flipH="1">
              <a:off x="6141257" y="4629573"/>
              <a:ext cx="304800" cy="423300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391" name="Shape 391"/>
          <p:cNvSpPr/>
          <p:nvPr/>
        </p:nvSpPr>
        <p:spPr>
          <a:xfrm flipH="1">
            <a:off x="5710139" y="0"/>
            <a:ext cx="3174900" cy="4510800"/>
          </a:xfrm>
          <a:prstGeom prst="rtTriangle">
            <a:avLst/>
          </a:prstGeom>
          <a:solidFill>
            <a:srgbClr val="262C3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" name="Shape 392"/>
          <p:cNvSpPr/>
          <p:nvPr/>
        </p:nvSpPr>
        <p:spPr>
          <a:xfrm>
            <a:off x="8877835" y="0"/>
            <a:ext cx="266100" cy="4510800"/>
          </a:xfrm>
          <a:prstGeom prst="rect">
            <a:avLst/>
          </a:prstGeom>
          <a:solidFill>
            <a:srgbClr val="262C3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93" name="Shape 393"/>
          <p:cNvGrpSpPr/>
          <p:nvPr/>
        </p:nvGrpSpPr>
        <p:grpSpPr>
          <a:xfrm>
            <a:off x="341515" y="4610859"/>
            <a:ext cx="845767" cy="446188"/>
            <a:chOff x="17463" y="1128712"/>
            <a:chExt cx="10080662" cy="5318100"/>
          </a:xfrm>
        </p:grpSpPr>
        <p:sp>
          <p:nvSpPr>
            <p:cNvPr id="394" name="Shape 394"/>
            <p:cNvSpPr/>
            <p:nvPr/>
          </p:nvSpPr>
          <p:spPr>
            <a:xfrm>
              <a:off x="17463" y="1128712"/>
              <a:ext cx="4603800" cy="53181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90" y="18230"/>
                  </a:moveTo>
                  <a:lnTo>
                    <a:pt x="119990" y="18230"/>
                  </a:lnTo>
                  <a:cubicBezTo>
                    <a:pt x="119990" y="17174"/>
                    <a:pt x="118996" y="16239"/>
                    <a:pt x="117766" y="16239"/>
                  </a:cubicBezTo>
                  <a:cubicBezTo>
                    <a:pt x="117156" y="16239"/>
                    <a:pt x="116622" y="16443"/>
                    <a:pt x="116237" y="16776"/>
                  </a:cubicBezTo>
                  <a:lnTo>
                    <a:pt x="116237" y="16776"/>
                  </a:lnTo>
                  <a:cubicBezTo>
                    <a:pt x="108730" y="22471"/>
                    <a:pt x="108730" y="22471"/>
                    <a:pt x="108730" y="22471"/>
                  </a:cubicBezTo>
                  <a:lnTo>
                    <a:pt x="108730" y="22471"/>
                  </a:lnTo>
                  <a:cubicBezTo>
                    <a:pt x="108730" y="22544"/>
                    <a:pt x="108655" y="22609"/>
                    <a:pt x="108580" y="22674"/>
                  </a:cubicBezTo>
                  <a:cubicBezTo>
                    <a:pt x="108196" y="22942"/>
                    <a:pt x="107661" y="23072"/>
                    <a:pt x="107201" y="23072"/>
                  </a:cubicBezTo>
                  <a:cubicBezTo>
                    <a:pt x="106816" y="23072"/>
                    <a:pt x="106432" y="23007"/>
                    <a:pt x="106131" y="22869"/>
                  </a:cubicBezTo>
                  <a:cubicBezTo>
                    <a:pt x="106056" y="22804"/>
                    <a:pt x="105981" y="22804"/>
                    <a:pt x="105981" y="22739"/>
                  </a:cubicBezTo>
                  <a:cubicBezTo>
                    <a:pt x="105672" y="22609"/>
                    <a:pt x="105672" y="22609"/>
                    <a:pt x="105672" y="22609"/>
                  </a:cubicBezTo>
                  <a:cubicBezTo>
                    <a:pt x="61262" y="333"/>
                    <a:pt x="61262" y="333"/>
                    <a:pt x="61262" y="333"/>
                  </a:cubicBezTo>
                  <a:cubicBezTo>
                    <a:pt x="61186" y="268"/>
                    <a:pt x="61186" y="268"/>
                    <a:pt x="61186" y="268"/>
                  </a:cubicBezTo>
                  <a:lnTo>
                    <a:pt x="61186" y="268"/>
                  </a:lnTo>
                  <a:cubicBezTo>
                    <a:pt x="60877" y="129"/>
                    <a:pt x="60492" y="0"/>
                    <a:pt x="60107" y="0"/>
                  </a:cubicBezTo>
                  <a:cubicBezTo>
                    <a:pt x="59648" y="0"/>
                    <a:pt x="59263" y="129"/>
                    <a:pt x="58888" y="333"/>
                  </a:cubicBezTo>
                  <a:cubicBezTo>
                    <a:pt x="58888" y="268"/>
                    <a:pt x="58888" y="268"/>
                    <a:pt x="58888" y="268"/>
                  </a:cubicBezTo>
                  <a:cubicBezTo>
                    <a:pt x="1229" y="29303"/>
                    <a:pt x="1229" y="29303"/>
                    <a:pt x="1229" y="29303"/>
                  </a:cubicBezTo>
                  <a:cubicBezTo>
                    <a:pt x="1144" y="29303"/>
                    <a:pt x="1144" y="29368"/>
                    <a:pt x="1069" y="29368"/>
                  </a:cubicBezTo>
                  <a:cubicBezTo>
                    <a:pt x="459" y="29701"/>
                    <a:pt x="0" y="30367"/>
                    <a:pt x="0" y="31025"/>
                  </a:cubicBezTo>
                  <a:cubicBezTo>
                    <a:pt x="0" y="101688"/>
                    <a:pt x="0" y="101688"/>
                    <a:pt x="0" y="101688"/>
                  </a:cubicBezTo>
                  <a:cubicBezTo>
                    <a:pt x="0" y="102817"/>
                    <a:pt x="994" y="103678"/>
                    <a:pt x="2298" y="103678"/>
                  </a:cubicBezTo>
                  <a:cubicBezTo>
                    <a:pt x="2833" y="103678"/>
                    <a:pt x="3293" y="103483"/>
                    <a:pt x="3753" y="103215"/>
                  </a:cubicBezTo>
                  <a:cubicBezTo>
                    <a:pt x="3828" y="103150"/>
                    <a:pt x="3828" y="103150"/>
                    <a:pt x="3828" y="103150"/>
                  </a:cubicBezTo>
                  <a:cubicBezTo>
                    <a:pt x="11334" y="97382"/>
                    <a:pt x="11334" y="97382"/>
                    <a:pt x="11334" y="97382"/>
                  </a:cubicBezTo>
                  <a:lnTo>
                    <a:pt x="11334" y="97382"/>
                  </a:lnTo>
                  <a:cubicBezTo>
                    <a:pt x="11719" y="97049"/>
                    <a:pt x="12254" y="96854"/>
                    <a:pt x="12864" y="96854"/>
                  </a:cubicBezTo>
                  <a:cubicBezTo>
                    <a:pt x="13248" y="96854"/>
                    <a:pt x="13549" y="96984"/>
                    <a:pt x="13933" y="97114"/>
                  </a:cubicBezTo>
                  <a:cubicBezTo>
                    <a:pt x="13933" y="97114"/>
                    <a:pt x="14008" y="97114"/>
                    <a:pt x="14008" y="97179"/>
                  </a:cubicBezTo>
                  <a:lnTo>
                    <a:pt x="14008" y="97179"/>
                  </a:lnTo>
                  <a:cubicBezTo>
                    <a:pt x="14393" y="97317"/>
                    <a:pt x="14393" y="97317"/>
                    <a:pt x="14393" y="97317"/>
                  </a:cubicBezTo>
                  <a:cubicBezTo>
                    <a:pt x="58888" y="119723"/>
                    <a:pt x="58888" y="119723"/>
                    <a:pt x="58888" y="119723"/>
                  </a:cubicBezTo>
                  <a:cubicBezTo>
                    <a:pt x="59038" y="119788"/>
                    <a:pt x="59038" y="119788"/>
                    <a:pt x="59038" y="119788"/>
                  </a:cubicBezTo>
                  <a:lnTo>
                    <a:pt x="59038" y="119788"/>
                  </a:lnTo>
                  <a:cubicBezTo>
                    <a:pt x="59347" y="119918"/>
                    <a:pt x="59723" y="119991"/>
                    <a:pt x="60107" y="119991"/>
                  </a:cubicBezTo>
                  <a:cubicBezTo>
                    <a:pt x="60417" y="119991"/>
                    <a:pt x="60802" y="119918"/>
                    <a:pt x="61027" y="119853"/>
                  </a:cubicBezTo>
                  <a:cubicBezTo>
                    <a:pt x="61027" y="119853"/>
                    <a:pt x="61102" y="119853"/>
                    <a:pt x="61102" y="119788"/>
                  </a:cubicBezTo>
                  <a:cubicBezTo>
                    <a:pt x="61337" y="119658"/>
                    <a:pt x="61337" y="119658"/>
                    <a:pt x="61337" y="119658"/>
                  </a:cubicBezTo>
                  <a:cubicBezTo>
                    <a:pt x="118686" y="90818"/>
                    <a:pt x="118686" y="90818"/>
                    <a:pt x="118686" y="90818"/>
                  </a:cubicBezTo>
                  <a:cubicBezTo>
                    <a:pt x="119071" y="90688"/>
                    <a:pt x="119071" y="90688"/>
                    <a:pt x="119071" y="90688"/>
                  </a:cubicBezTo>
                  <a:cubicBezTo>
                    <a:pt x="119605" y="90290"/>
                    <a:pt x="119990" y="89689"/>
                    <a:pt x="119990" y="89031"/>
                  </a:cubicBezTo>
                  <a:lnTo>
                    <a:pt x="119990" y="89031"/>
                  </a:lnTo>
                  <a:cubicBezTo>
                    <a:pt x="119990" y="18230"/>
                    <a:pt x="119990" y="18230"/>
                    <a:pt x="119990" y="18230"/>
                  </a:cubicBezTo>
                  <a:close/>
                  <a:moveTo>
                    <a:pt x="105672" y="81865"/>
                  </a:moveTo>
                  <a:lnTo>
                    <a:pt x="105672" y="81865"/>
                  </a:lnTo>
                  <a:cubicBezTo>
                    <a:pt x="105596" y="81865"/>
                    <a:pt x="105596" y="81865"/>
                    <a:pt x="105596" y="81865"/>
                  </a:cubicBezTo>
                  <a:cubicBezTo>
                    <a:pt x="105596" y="82531"/>
                    <a:pt x="105287" y="83125"/>
                    <a:pt x="104677" y="83458"/>
                  </a:cubicBezTo>
                  <a:cubicBezTo>
                    <a:pt x="104517" y="83523"/>
                    <a:pt x="104442" y="83588"/>
                    <a:pt x="104292" y="83661"/>
                  </a:cubicBezTo>
                  <a:cubicBezTo>
                    <a:pt x="61337" y="105271"/>
                    <a:pt x="61337" y="105271"/>
                    <a:pt x="61337" y="105271"/>
                  </a:cubicBezTo>
                  <a:lnTo>
                    <a:pt x="61337" y="105271"/>
                  </a:lnTo>
                  <a:cubicBezTo>
                    <a:pt x="61262" y="105336"/>
                    <a:pt x="61186" y="105336"/>
                    <a:pt x="61027" y="105401"/>
                  </a:cubicBezTo>
                  <a:lnTo>
                    <a:pt x="61027" y="105401"/>
                  </a:lnTo>
                  <a:cubicBezTo>
                    <a:pt x="60717" y="105539"/>
                    <a:pt x="60417" y="105604"/>
                    <a:pt x="60032" y="105604"/>
                  </a:cubicBezTo>
                  <a:cubicBezTo>
                    <a:pt x="59648" y="105604"/>
                    <a:pt x="59263" y="105539"/>
                    <a:pt x="58963" y="105336"/>
                  </a:cubicBezTo>
                  <a:lnTo>
                    <a:pt x="58963" y="105336"/>
                  </a:lnTo>
                  <a:cubicBezTo>
                    <a:pt x="58963" y="105336"/>
                    <a:pt x="58888" y="105336"/>
                    <a:pt x="58888" y="105271"/>
                  </a:cubicBezTo>
                  <a:cubicBezTo>
                    <a:pt x="25418" y="88495"/>
                    <a:pt x="25418" y="88495"/>
                    <a:pt x="25418" y="88495"/>
                  </a:cubicBezTo>
                  <a:cubicBezTo>
                    <a:pt x="25193" y="88365"/>
                    <a:pt x="25193" y="88365"/>
                    <a:pt x="25193" y="88365"/>
                  </a:cubicBezTo>
                  <a:cubicBezTo>
                    <a:pt x="24883" y="88235"/>
                    <a:pt x="24499" y="88170"/>
                    <a:pt x="24198" y="88170"/>
                  </a:cubicBezTo>
                  <a:cubicBezTo>
                    <a:pt x="23589" y="88170"/>
                    <a:pt x="23044" y="88365"/>
                    <a:pt x="22669" y="88698"/>
                  </a:cubicBezTo>
                  <a:lnTo>
                    <a:pt x="22669" y="88698"/>
                  </a:lnTo>
                  <a:cubicBezTo>
                    <a:pt x="18296" y="92012"/>
                    <a:pt x="18296" y="92012"/>
                    <a:pt x="18296" y="92012"/>
                  </a:cubicBezTo>
                  <a:cubicBezTo>
                    <a:pt x="18221" y="92142"/>
                    <a:pt x="18071" y="92207"/>
                    <a:pt x="17996" y="92272"/>
                  </a:cubicBezTo>
                  <a:lnTo>
                    <a:pt x="17996" y="92272"/>
                  </a:lnTo>
                  <a:cubicBezTo>
                    <a:pt x="17612" y="92475"/>
                    <a:pt x="17152" y="92670"/>
                    <a:pt x="16617" y="92670"/>
                  </a:cubicBezTo>
                  <a:cubicBezTo>
                    <a:pt x="15388" y="92670"/>
                    <a:pt x="14393" y="91744"/>
                    <a:pt x="14393" y="90688"/>
                  </a:cubicBezTo>
                  <a:cubicBezTo>
                    <a:pt x="14393" y="38516"/>
                    <a:pt x="14393" y="38516"/>
                    <a:pt x="14393" y="38516"/>
                  </a:cubicBezTo>
                  <a:cubicBezTo>
                    <a:pt x="14393" y="38451"/>
                    <a:pt x="14393" y="38386"/>
                    <a:pt x="14393" y="38321"/>
                  </a:cubicBezTo>
                  <a:cubicBezTo>
                    <a:pt x="14393" y="38182"/>
                    <a:pt x="14393" y="38117"/>
                    <a:pt x="14393" y="38052"/>
                  </a:cubicBezTo>
                  <a:cubicBezTo>
                    <a:pt x="14468" y="37459"/>
                    <a:pt x="14853" y="36923"/>
                    <a:pt x="15388" y="36663"/>
                  </a:cubicBezTo>
                  <a:cubicBezTo>
                    <a:pt x="15463" y="36598"/>
                    <a:pt x="15547" y="36533"/>
                    <a:pt x="15622" y="36533"/>
                  </a:cubicBezTo>
                  <a:cubicBezTo>
                    <a:pt x="58888" y="14785"/>
                    <a:pt x="58888" y="14785"/>
                    <a:pt x="58888" y="14785"/>
                  </a:cubicBezTo>
                  <a:lnTo>
                    <a:pt x="58888" y="14785"/>
                  </a:lnTo>
                  <a:cubicBezTo>
                    <a:pt x="59263" y="14582"/>
                    <a:pt x="59648" y="14452"/>
                    <a:pt x="60107" y="14452"/>
                  </a:cubicBezTo>
                  <a:cubicBezTo>
                    <a:pt x="60492" y="14452"/>
                    <a:pt x="60877" y="14582"/>
                    <a:pt x="61186" y="14720"/>
                  </a:cubicBezTo>
                  <a:lnTo>
                    <a:pt x="61186" y="14720"/>
                  </a:lnTo>
                  <a:cubicBezTo>
                    <a:pt x="94487" y="31488"/>
                    <a:pt x="94487" y="31488"/>
                    <a:pt x="94487" y="31488"/>
                  </a:cubicBezTo>
                  <a:cubicBezTo>
                    <a:pt x="94797" y="31626"/>
                    <a:pt x="94797" y="31626"/>
                    <a:pt x="94797" y="31626"/>
                  </a:cubicBezTo>
                  <a:cubicBezTo>
                    <a:pt x="95106" y="31756"/>
                    <a:pt x="95491" y="31821"/>
                    <a:pt x="95791" y="31821"/>
                  </a:cubicBezTo>
                  <a:cubicBezTo>
                    <a:pt x="96326" y="31821"/>
                    <a:pt x="96786" y="31691"/>
                    <a:pt x="97171" y="31423"/>
                  </a:cubicBezTo>
                  <a:cubicBezTo>
                    <a:pt x="97480" y="31228"/>
                    <a:pt x="97480" y="31228"/>
                    <a:pt x="97480" y="31228"/>
                  </a:cubicBezTo>
                  <a:cubicBezTo>
                    <a:pt x="101843" y="27841"/>
                    <a:pt x="101843" y="27841"/>
                    <a:pt x="101843" y="27841"/>
                  </a:cubicBezTo>
                  <a:lnTo>
                    <a:pt x="101843" y="27841"/>
                  </a:lnTo>
                  <a:cubicBezTo>
                    <a:pt x="102228" y="27516"/>
                    <a:pt x="102763" y="27312"/>
                    <a:pt x="103373" y="27312"/>
                  </a:cubicBezTo>
                  <a:cubicBezTo>
                    <a:pt x="104602" y="27312"/>
                    <a:pt x="105596" y="28109"/>
                    <a:pt x="105672" y="29173"/>
                  </a:cubicBezTo>
                  <a:cubicBezTo>
                    <a:pt x="105672" y="29238"/>
                    <a:pt x="105672" y="29238"/>
                    <a:pt x="105672" y="29303"/>
                  </a:cubicBezTo>
                  <a:lnTo>
                    <a:pt x="105672" y="29368"/>
                  </a:lnTo>
                  <a:cubicBezTo>
                    <a:pt x="105672" y="37061"/>
                    <a:pt x="105672" y="37061"/>
                    <a:pt x="105672" y="37061"/>
                  </a:cubicBezTo>
                  <a:lnTo>
                    <a:pt x="105672" y="81865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Shape 395"/>
            <p:cNvSpPr/>
            <p:nvPr/>
          </p:nvSpPr>
          <p:spPr>
            <a:xfrm>
              <a:off x="5681662" y="2157413"/>
              <a:ext cx="531900" cy="6906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0324" y="0"/>
                  </a:moveTo>
                  <a:lnTo>
                    <a:pt x="60324" y="0"/>
                  </a:lnTo>
                  <a:cubicBezTo>
                    <a:pt x="92801" y="0"/>
                    <a:pt x="116589" y="8692"/>
                    <a:pt x="116589" y="31641"/>
                  </a:cubicBezTo>
                  <a:cubicBezTo>
                    <a:pt x="116589" y="45461"/>
                    <a:pt x="107334" y="54590"/>
                    <a:pt x="93450" y="58155"/>
                  </a:cubicBezTo>
                  <a:cubicBezTo>
                    <a:pt x="108633" y="62282"/>
                    <a:pt x="119918" y="71974"/>
                    <a:pt x="119918" y="86732"/>
                  </a:cubicBezTo>
                  <a:cubicBezTo>
                    <a:pt x="119918" y="110244"/>
                    <a:pt x="97428" y="119937"/>
                    <a:pt x="62922" y="119937"/>
                  </a:cubicBezTo>
                  <a:cubicBezTo>
                    <a:pt x="0" y="119937"/>
                    <a:pt x="0" y="119937"/>
                    <a:pt x="0" y="1199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0324" y="0"/>
                  </a:lnTo>
                  <a:close/>
                  <a:moveTo>
                    <a:pt x="17861" y="12756"/>
                  </a:moveTo>
                  <a:lnTo>
                    <a:pt x="17861" y="12756"/>
                  </a:lnTo>
                  <a:cubicBezTo>
                    <a:pt x="17861" y="52589"/>
                    <a:pt x="17861" y="52589"/>
                    <a:pt x="17861" y="52589"/>
                  </a:cubicBezTo>
                  <a:cubicBezTo>
                    <a:pt x="59594" y="52589"/>
                    <a:pt x="59594" y="52589"/>
                    <a:pt x="59594" y="52589"/>
                  </a:cubicBezTo>
                  <a:cubicBezTo>
                    <a:pt x="81515" y="52589"/>
                    <a:pt x="98078" y="49025"/>
                    <a:pt x="98078" y="32704"/>
                  </a:cubicBezTo>
                  <a:cubicBezTo>
                    <a:pt x="98078" y="16883"/>
                    <a:pt x="80784" y="12756"/>
                    <a:pt x="59594" y="12756"/>
                  </a:cubicBezTo>
                  <a:lnTo>
                    <a:pt x="17861" y="12756"/>
                  </a:lnTo>
                  <a:close/>
                  <a:moveTo>
                    <a:pt x="17861" y="65846"/>
                  </a:moveTo>
                  <a:lnTo>
                    <a:pt x="17861" y="65846"/>
                  </a:lnTo>
                  <a:cubicBezTo>
                    <a:pt x="17861" y="107180"/>
                    <a:pt x="17861" y="107180"/>
                    <a:pt x="17861" y="107180"/>
                  </a:cubicBezTo>
                  <a:cubicBezTo>
                    <a:pt x="62273" y="107180"/>
                    <a:pt x="62273" y="107180"/>
                    <a:pt x="62273" y="107180"/>
                  </a:cubicBezTo>
                  <a:cubicBezTo>
                    <a:pt x="85493" y="107180"/>
                    <a:pt x="101407" y="102615"/>
                    <a:pt x="101407" y="86232"/>
                  </a:cubicBezTo>
                  <a:cubicBezTo>
                    <a:pt x="101407" y="70411"/>
                    <a:pt x="85493" y="65846"/>
                    <a:pt x="62273" y="65846"/>
                  </a:cubicBezTo>
                  <a:lnTo>
                    <a:pt x="17861" y="65846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Shape 396"/>
            <p:cNvSpPr/>
            <p:nvPr/>
          </p:nvSpPr>
          <p:spPr>
            <a:xfrm>
              <a:off x="6313487" y="2147888"/>
              <a:ext cx="641400" cy="711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32" y="23744"/>
                  </a:moveTo>
                  <a:lnTo>
                    <a:pt x="119932" y="23744"/>
                  </a:lnTo>
                  <a:cubicBezTo>
                    <a:pt x="107258" y="31700"/>
                    <a:pt x="107258" y="31700"/>
                    <a:pt x="107258" y="31700"/>
                  </a:cubicBezTo>
                  <a:cubicBezTo>
                    <a:pt x="99033" y="19797"/>
                    <a:pt x="84134" y="12874"/>
                    <a:pt x="67078" y="12874"/>
                  </a:cubicBezTo>
                  <a:cubicBezTo>
                    <a:pt x="37955" y="12874"/>
                    <a:pt x="15910" y="31700"/>
                    <a:pt x="15910" y="59939"/>
                  </a:cubicBezTo>
                  <a:cubicBezTo>
                    <a:pt x="15910" y="87692"/>
                    <a:pt x="37955" y="107004"/>
                    <a:pt x="67078" y="107004"/>
                  </a:cubicBezTo>
                  <a:cubicBezTo>
                    <a:pt x="84134" y="107004"/>
                    <a:pt x="98426" y="100080"/>
                    <a:pt x="107258" y="88178"/>
                  </a:cubicBezTo>
                  <a:cubicBezTo>
                    <a:pt x="119325" y="96133"/>
                    <a:pt x="119325" y="96133"/>
                    <a:pt x="119325" y="96133"/>
                  </a:cubicBezTo>
                  <a:cubicBezTo>
                    <a:pt x="108876" y="111012"/>
                    <a:pt x="89123" y="119939"/>
                    <a:pt x="67078" y="119939"/>
                  </a:cubicBezTo>
                  <a:cubicBezTo>
                    <a:pt x="28584" y="119939"/>
                    <a:pt x="0" y="94676"/>
                    <a:pt x="0" y="59939"/>
                  </a:cubicBezTo>
                  <a:cubicBezTo>
                    <a:pt x="0" y="24777"/>
                    <a:pt x="28584" y="0"/>
                    <a:pt x="67078" y="0"/>
                  </a:cubicBezTo>
                  <a:cubicBezTo>
                    <a:pt x="89662" y="0"/>
                    <a:pt x="109415" y="8927"/>
                    <a:pt x="119932" y="23744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Shape 397"/>
            <p:cNvSpPr/>
            <p:nvPr/>
          </p:nvSpPr>
          <p:spPr>
            <a:xfrm>
              <a:off x="7024688" y="2147888"/>
              <a:ext cx="690600" cy="711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744" y="19311"/>
                  </a:moveTo>
                  <a:lnTo>
                    <a:pt x="108744" y="19311"/>
                  </a:lnTo>
                  <a:cubicBezTo>
                    <a:pt x="98488" y="28724"/>
                    <a:pt x="98488" y="28724"/>
                    <a:pt x="98488" y="28724"/>
                  </a:cubicBezTo>
                  <a:cubicBezTo>
                    <a:pt x="89859" y="18825"/>
                    <a:pt x="77102" y="12874"/>
                    <a:pt x="62282" y="12874"/>
                  </a:cubicBezTo>
                  <a:cubicBezTo>
                    <a:pt x="35205" y="12874"/>
                    <a:pt x="14820" y="31700"/>
                    <a:pt x="14820" y="59939"/>
                  </a:cubicBezTo>
                  <a:cubicBezTo>
                    <a:pt x="14820" y="87692"/>
                    <a:pt x="35205" y="107004"/>
                    <a:pt x="61782" y="107004"/>
                  </a:cubicBezTo>
                  <a:cubicBezTo>
                    <a:pt x="86795" y="107004"/>
                    <a:pt x="102615" y="92186"/>
                    <a:pt x="104616" y="68380"/>
                  </a:cubicBezTo>
                  <a:cubicBezTo>
                    <a:pt x="67410" y="68380"/>
                    <a:pt x="67410" y="68380"/>
                    <a:pt x="67410" y="68380"/>
                  </a:cubicBezTo>
                  <a:cubicBezTo>
                    <a:pt x="67410" y="55991"/>
                    <a:pt x="67410" y="55991"/>
                    <a:pt x="67410" y="55991"/>
                  </a:cubicBezTo>
                  <a:cubicBezTo>
                    <a:pt x="119437" y="55991"/>
                    <a:pt x="119437" y="55991"/>
                    <a:pt x="119437" y="55991"/>
                  </a:cubicBezTo>
                  <a:cubicBezTo>
                    <a:pt x="119937" y="56963"/>
                    <a:pt x="119937" y="57935"/>
                    <a:pt x="119937" y="59453"/>
                  </a:cubicBezTo>
                  <a:cubicBezTo>
                    <a:pt x="119937" y="93157"/>
                    <a:pt x="97488" y="119939"/>
                    <a:pt x="61782" y="119939"/>
                  </a:cubicBezTo>
                  <a:cubicBezTo>
                    <a:pt x="30140" y="119939"/>
                    <a:pt x="0" y="97591"/>
                    <a:pt x="0" y="59939"/>
                  </a:cubicBezTo>
                  <a:cubicBezTo>
                    <a:pt x="0" y="24777"/>
                    <a:pt x="26576" y="0"/>
                    <a:pt x="62282" y="0"/>
                  </a:cubicBezTo>
                  <a:cubicBezTo>
                    <a:pt x="81167" y="0"/>
                    <a:pt x="97488" y="7408"/>
                    <a:pt x="108744" y="19311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Shape 398"/>
            <p:cNvSpPr/>
            <p:nvPr/>
          </p:nvSpPr>
          <p:spPr>
            <a:xfrm>
              <a:off x="5684837" y="3176588"/>
              <a:ext cx="700200" cy="7635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1940" y="0"/>
                  </a:moveTo>
                  <a:lnTo>
                    <a:pt x="51940" y="0"/>
                  </a:lnTo>
                  <a:cubicBezTo>
                    <a:pt x="92763" y="0"/>
                    <a:pt x="119938" y="23977"/>
                    <a:pt x="119938" y="60000"/>
                  </a:cubicBezTo>
                  <a:cubicBezTo>
                    <a:pt x="119938" y="95966"/>
                    <a:pt x="92763" y="119943"/>
                    <a:pt x="51940" y="119943"/>
                  </a:cubicBezTo>
                  <a:cubicBezTo>
                    <a:pt x="0" y="119943"/>
                    <a:pt x="0" y="119943"/>
                    <a:pt x="0" y="11994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1940" y="0"/>
                  </a:lnTo>
                  <a:close/>
                  <a:moveTo>
                    <a:pt x="21183" y="18435"/>
                  </a:moveTo>
                  <a:lnTo>
                    <a:pt x="21183" y="18435"/>
                  </a:lnTo>
                  <a:cubicBezTo>
                    <a:pt x="21183" y="101451"/>
                    <a:pt x="21183" y="101451"/>
                    <a:pt x="21183" y="101451"/>
                  </a:cubicBezTo>
                  <a:cubicBezTo>
                    <a:pt x="51940" y="101451"/>
                    <a:pt x="51940" y="101451"/>
                    <a:pt x="51940" y="101451"/>
                  </a:cubicBezTo>
                  <a:cubicBezTo>
                    <a:pt x="82635" y="101451"/>
                    <a:pt x="97766" y="83977"/>
                    <a:pt x="97766" y="60000"/>
                  </a:cubicBezTo>
                  <a:cubicBezTo>
                    <a:pt x="97766" y="35513"/>
                    <a:pt x="82635" y="18435"/>
                    <a:pt x="51940" y="18435"/>
                  </a:cubicBezTo>
                  <a:lnTo>
                    <a:pt x="21183" y="18435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Shape 399"/>
            <p:cNvSpPr/>
            <p:nvPr/>
          </p:nvSpPr>
          <p:spPr>
            <a:xfrm>
              <a:off x="6483350" y="3155950"/>
              <a:ext cx="158700" cy="784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6606" y="24726"/>
                    <a:pt x="0" y="19329"/>
                    <a:pt x="0" y="12556"/>
                  </a:cubicBezTo>
                  <a:cubicBezTo>
                    <a:pt x="0" y="5396"/>
                    <a:pt x="26606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3981" y="119944"/>
                  </a:moveTo>
                  <a:lnTo>
                    <a:pt x="103981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3981" y="39981"/>
                    <a:pt x="103981" y="39981"/>
                    <a:pt x="103981" y="39981"/>
                  </a:cubicBezTo>
                  <a:lnTo>
                    <a:pt x="103981" y="119944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Shape 400"/>
            <p:cNvSpPr/>
            <p:nvPr/>
          </p:nvSpPr>
          <p:spPr>
            <a:xfrm>
              <a:off x="6727825" y="3402012"/>
              <a:ext cx="531900" cy="7635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4100" y="11988"/>
                  </a:moveTo>
                  <a:lnTo>
                    <a:pt x="94100" y="11988"/>
                  </a:lnTo>
                  <a:cubicBezTo>
                    <a:pt x="94100" y="2318"/>
                    <a:pt x="94100" y="2318"/>
                    <a:pt x="94100" y="2318"/>
                  </a:cubicBezTo>
                  <a:cubicBezTo>
                    <a:pt x="119918" y="2318"/>
                    <a:pt x="119918" y="2318"/>
                    <a:pt x="119918" y="2318"/>
                  </a:cubicBezTo>
                  <a:cubicBezTo>
                    <a:pt x="119918" y="78435"/>
                    <a:pt x="119918" y="78435"/>
                    <a:pt x="119918" y="78435"/>
                  </a:cubicBezTo>
                  <a:cubicBezTo>
                    <a:pt x="119918" y="104278"/>
                    <a:pt x="96048" y="119943"/>
                    <a:pt x="56995" y="119943"/>
                  </a:cubicBezTo>
                  <a:cubicBezTo>
                    <a:pt x="39133" y="119943"/>
                    <a:pt x="19891" y="116720"/>
                    <a:pt x="7307" y="110725"/>
                  </a:cubicBezTo>
                  <a:cubicBezTo>
                    <a:pt x="16562" y="95457"/>
                    <a:pt x="16562" y="95457"/>
                    <a:pt x="16562" y="95457"/>
                  </a:cubicBezTo>
                  <a:cubicBezTo>
                    <a:pt x="28497" y="100546"/>
                    <a:pt x="42462" y="103770"/>
                    <a:pt x="56995" y="103770"/>
                  </a:cubicBezTo>
                  <a:cubicBezTo>
                    <a:pt x="80866" y="103770"/>
                    <a:pt x="94100" y="94552"/>
                    <a:pt x="94100" y="79340"/>
                  </a:cubicBezTo>
                  <a:cubicBezTo>
                    <a:pt x="94100" y="72893"/>
                    <a:pt x="94100" y="72893"/>
                    <a:pt x="94100" y="72893"/>
                  </a:cubicBezTo>
                  <a:cubicBezTo>
                    <a:pt x="85493" y="80697"/>
                    <a:pt x="72259" y="84429"/>
                    <a:pt x="55047" y="84429"/>
                  </a:cubicBezTo>
                  <a:cubicBezTo>
                    <a:pt x="27848" y="84429"/>
                    <a:pt x="0" y="68708"/>
                    <a:pt x="0" y="42469"/>
                  </a:cubicBezTo>
                  <a:cubicBezTo>
                    <a:pt x="0" y="15721"/>
                    <a:pt x="27848" y="0"/>
                    <a:pt x="55047" y="0"/>
                  </a:cubicBezTo>
                  <a:cubicBezTo>
                    <a:pt x="72259" y="0"/>
                    <a:pt x="85493" y="4184"/>
                    <a:pt x="94100" y="11988"/>
                  </a:cubicBezTo>
                  <a:close/>
                  <a:moveTo>
                    <a:pt x="26549" y="42469"/>
                  </a:moveTo>
                  <a:lnTo>
                    <a:pt x="26549" y="42469"/>
                  </a:lnTo>
                  <a:cubicBezTo>
                    <a:pt x="26549" y="56324"/>
                    <a:pt x="39783" y="67803"/>
                    <a:pt x="61623" y="67803"/>
                  </a:cubicBezTo>
                  <a:cubicBezTo>
                    <a:pt x="82165" y="67803"/>
                    <a:pt x="96048" y="56776"/>
                    <a:pt x="96048" y="42469"/>
                  </a:cubicBezTo>
                  <a:cubicBezTo>
                    <a:pt x="96048" y="28162"/>
                    <a:pt x="82165" y="17078"/>
                    <a:pt x="61623" y="17078"/>
                  </a:cubicBezTo>
                  <a:cubicBezTo>
                    <a:pt x="39783" y="17078"/>
                    <a:pt x="26549" y="28614"/>
                    <a:pt x="26549" y="42469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Shape 401"/>
            <p:cNvSpPr/>
            <p:nvPr/>
          </p:nvSpPr>
          <p:spPr>
            <a:xfrm>
              <a:off x="7383463" y="3155950"/>
              <a:ext cx="158700" cy="784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4434" y="24726"/>
                    <a:pt x="0" y="19329"/>
                    <a:pt x="0" y="12556"/>
                  </a:cubicBezTo>
                  <a:cubicBezTo>
                    <a:pt x="0" y="5396"/>
                    <a:pt x="24434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4253" y="119944"/>
                  </a:moveTo>
                  <a:lnTo>
                    <a:pt x="104253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4253" y="39981"/>
                    <a:pt x="104253" y="39981"/>
                    <a:pt x="104253" y="39981"/>
                  </a:cubicBezTo>
                  <a:lnTo>
                    <a:pt x="104253" y="119944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Shape 402"/>
            <p:cNvSpPr/>
            <p:nvPr/>
          </p:nvSpPr>
          <p:spPr>
            <a:xfrm>
              <a:off x="7600950" y="3259138"/>
              <a:ext cx="452400" cy="6936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319" y="45295"/>
                  </a:moveTo>
                  <a:lnTo>
                    <a:pt x="111319" y="45295"/>
                  </a:lnTo>
                  <a:cubicBezTo>
                    <a:pt x="58378" y="45295"/>
                    <a:pt x="58378" y="45295"/>
                    <a:pt x="58378" y="45295"/>
                  </a:cubicBezTo>
                  <a:cubicBezTo>
                    <a:pt x="58378" y="84423"/>
                    <a:pt x="58378" y="84423"/>
                    <a:pt x="58378" y="84423"/>
                  </a:cubicBezTo>
                  <a:cubicBezTo>
                    <a:pt x="58378" y="96573"/>
                    <a:pt x="67726" y="101619"/>
                    <a:pt x="80222" y="101619"/>
                  </a:cubicBezTo>
                  <a:cubicBezTo>
                    <a:pt x="89475" y="101619"/>
                    <a:pt x="99682" y="98629"/>
                    <a:pt x="108171" y="95576"/>
                  </a:cubicBezTo>
                  <a:cubicBezTo>
                    <a:pt x="119904" y="111339"/>
                    <a:pt x="119904" y="111339"/>
                    <a:pt x="119904" y="111339"/>
                  </a:cubicBezTo>
                  <a:cubicBezTo>
                    <a:pt x="108934" y="115887"/>
                    <a:pt x="95007" y="119937"/>
                    <a:pt x="77837" y="119937"/>
                  </a:cubicBezTo>
                  <a:cubicBezTo>
                    <a:pt x="45882" y="119937"/>
                    <a:pt x="28044" y="108785"/>
                    <a:pt x="28044" y="84922"/>
                  </a:cubicBezTo>
                  <a:cubicBezTo>
                    <a:pt x="28044" y="45295"/>
                    <a:pt x="28044" y="45295"/>
                    <a:pt x="28044" y="45295"/>
                  </a:cubicBezTo>
                  <a:cubicBezTo>
                    <a:pt x="0" y="45295"/>
                    <a:pt x="0" y="45295"/>
                    <a:pt x="0" y="45295"/>
                  </a:cubicBezTo>
                  <a:cubicBezTo>
                    <a:pt x="0" y="27476"/>
                    <a:pt x="0" y="27476"/>
                    <a:pt x="0" y="27476"/>
                  </a:cubicBezTo>
                  <a:cubicBezTo>
                    <a:pt x="28044" y="27476"/>
                    <a:pt x="28044" y="27476"/>
                    <a:pt x="28044" y="27476"/>
                  </a:cubicBezTo>
                  <a:cubicBezTo>
                    <a:pt x="28044" y="0"/>
                    <a:pt x="28044" y="0"/>
                    <a:pt x="28044" y="0"/>
                  </a:cubicBezTo>
                  <a:cubicBezTo>
                    <a:pt x="58378" y="0"/>
                    <a:pt x="58378" y="0"/>
                    <a:pt x="58378" y="0"/>
                  </a:cubicBezTo>
                  <a:cubicBezTo>
                    <a:pt x="58378" y="27476"/>
                    <a:pt x="58378" y="27476"/>
                    <a:pt x="58378" y="27476"/>
                  </a:cubicBezTo>
                  <a:cubicBezTo>
                    <a:pt x="111319" y="27476"/>
                    <a:pt x="111319" y="27476"/>
                    <a:pt x="111319" y="27476"/>
                  </a:cubicBezTo>
                  <a:lnTo>
                    <a:pt x="111319" y="45295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Shape 403"/>
            <p:cNvSpPr/>
            <p:nvPr/>
          </p:nvSpPr>
          <p:spPr>
            <a:xfrm>
              <a:off x="8078788" y="3402012"/>
              <a:ext cx="538200" cy="5493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9" y="117404"/>
                  </a:moveTo>
                  <a:lnTo>
                    <a:pt x="119919" y="117404"/>
                  </a:lnTo>
                  <a:cubicBezTo>
                    <a:pt x="94956" y="117404"/>
                    <a:pt x="94956" y="117404"/>
                    <a:pt x="94956" y="117404"/>
                  </a:cubicBezTo>
                  <a:cubicBezTo>
                    <a:pt x="94956" y="103250"/>
                    <a:pt x="94956" y="103250"/>
                    <a:pt x="94956" y="103250"/>
                  </a:cubicBezTo>
                  <a:cubicBezTo>
                    <a:pt x="86448" y="113551"/>
                    <a:pt x="74648" y="119921"/>
                    <a:pt x="58274" y="119921"/>
                  </a:cubicBezTo>
                  <a:cubicBezTo>
                    <a:pt x="25605" y="119921"/>
                    <a:pt x="0" y="94914"/>
                    <a:pt x="0" y="60314"/>
                  </a:cubicBezTo>
                  <a:cubicBezTo>
                    <a:pt x="0" y="25006"/>
                    <a:pt x="25605" y="0"/>
                    <a:pt x="58274" y="0"/>
                  </a:cubicBezTo>
                  <a:cubicBezTo>
                    <a:pt x="74648" y="0"/>
                    <a:pt x="86448" y="7077"/>
                    <a:pt x="94956" y="16671"/>
                  </a:cubicBezTo>
                  <a:cubicBezTo>
                    <a:pt x="94956" y="3224"/>
                    <a:pt x="94956" y="3224"/>
                    <a:pt x="94956" y="3224"/>
                  </a:cubicBezTo>
                  <a:cubicBezTo>
                    <a:pt x="119919" y="3224"/>
                    <a:pt x="119919" y="3224"/>
                    <a:pt x="119919" y="3224"/>
                  </a:cubicBezTo>
                  <a:lnTo>
                    <a:pt x="119919" y="117404"/>
                  </a:lnTo>
                  <a:close/>
                  <a:moveTo>
                    <a:pt x="26247" y="60314"/>
                  </a:moveTo>
                  <a:lnTo>
                    <a:pt x="26247" y="60314"/>
                  </a:lnTo>
                  <a:cubicBezTo>
                    <a:pt x="26247" y="80209"/>
                    <a:pt x="39331" y="96802"/>
                    <a:pt x="60923" y="96802"/>
                  </a:cubicBezTo>
                  <a:cubicBezTo>
                    <a:pt x="82515" y="96802"/>
                    <a:pt x="96321" y="80917"/>
                    <a:pt x="96321" y="60314"/>
                  </a:cubicBezTo>
                  <a:cubicBezTo>
                    <a:pt x="96321" y="39161"/>
                    <a:pt x="82515" y="23748"/>
                    <a:pt x="60923" y="23748"/>
                  </a:cubicBezTo>
                  <a:cubicBezTo>
                    <a:pt x="39331" y="23748"/>
                    <a:pt x="26247" y="40419"/>
                    <a:pt x="26247" y="60314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Shape 404"/>
            <p:cNvSpPr/>
            <p:nvPr/>
          </p:nvSpPr>
          <p:spPr>
            <a:xfrm>
              <a:off x="8764588" y="3155950"/>
              <a:ext cx="114300" cy="784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623" y="119944"/>
                  </a:moveTo>
                  <a:lnTo>
                    <a:pt x="0" y="119944"/>
                  </a:lnTo>
                  <a:lnTo>
                    <a:pt x="0" y="0"/>
                  </a:lnTo>
                  <a:lnTo>
                    <a:pt x="119623" y="0"/>
                  </a:lnTo>
                  <a:lnTo>
                    <a:pt x="119623" y="119944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" name="Shape 405"/>
            <p:cNvSpPr/>
            <p:nvPr/>
          </p:nvSpPr>
          <p:spPr>
            <a:xfrm>
              <a:off x="5640387" y="4265612"/>
              <a:ext cx="738300" cy="7635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2620" y="119943"/>
                  </a:moveTo>
                  <a:lnTo>
                    <a:pt x="47320" y="119943"/>
                  </a:lnTo>
                  <a:lnTo>
                    <a:pt x="0" y="0"/>
                  </a:lnTo>
                  <a:lnTo>
                    <a:pt x="21493" y="0"/>
                  </a:lnTo>
                  <a:lnTo>
                    <a:pt x="60204" y="100103"/>
                  </a:lnTo>
                  <a:lnTo>
                    <a:pt x="98916" y="0"/>
                  </a:lnTo>
                  <a:lnTo>
                    <a:pt x="119941" y="0"/>
                  </a:lnTo>
                  <a:lnTo>
                    <a:pt x="72620" y="119943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Shape 406"/>
            <p:cNvSpPr/>
            <p:nvPr/>
          </p:nvSpPr>
          <p:spPr>
            <a:xfrm>
              <a:off x="6362700" y="4494212"/>
              <a:ext cx="506400" cy="546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231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1565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071" y="50322"/>
                    <a:pt x="92071" y="50322"/>
                    <a:pt x="92071" y="50322"/>
                  </a:cubicBezTo>
                  <a:cubicBezTo>
                    <a:pt x="89252" y="32231"/>
                    <a:pt x="78064" y="21882"/>
                    <a:pt x="60640" y="21882"/>
                  </a:cubicBezTo>
                  <a:cubicBezTo>
                    <a:pt x="41850" y="21882"/>
                    <a:pt x="30661" y="33495"/>
                    <a:pt x="27928" y="50322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7" name="Shape 407"/>
            <p:cNvSpPr/>
            <p:nvPr/>
          </p:nvSpPr>
          <p:spPr>
            <a:xfrm>
              <a:off x="6983413" y="4494212"/>
              <a:ext cx="485700" cy="5349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46110"/>
                  </a:moveTo>
                  <a:lnTo>
                    <a:pt x="119910" y="46110"/>
                  </a:lnTo>
                  <a:cubicBezTo>
                    <a:pt x="119910" y="119919"/>
                    <a:pt x="119910" y="119919"/>
                    <a:pt x="119910" y="119919"/>
                  </a:cubicBezTo>
                  <a:cubicBezTo>
                    <a:pt x="91513" y="119919"/>
                    <a:pt x="91513" y="119919"/>
                    <a:pt x="91513" y="119919"/>
                  </a:cubicBezTo>
                  <a:cubicBezTo>
                    <a:pt x="91513" y="54670"/>
                    <a:pt x="91513" y="54670"/>
                    <a:pt x="91513" y="54670"/>
                  </a:cubicBezTo>
                  <a:cubicBezTo>
                    <a:pt x="91513" y="34966"/>
                    <a:pt x="80652" y="23741"/>
                    <a:pt x="61780" y="23741"/>
                  </a:cubicBezTo>
                  <a:cubicBezTo>
                    <a:pt x="43620" y="23741"/>
                    <a:pt x="28308" y="34966"/>
                    <a:pt x="28308" y="54670"/>
                  </a:cubicBezTo>
                  <a:cubicBezTo>
                    <a:pt x="28308" y="119919"/>
                    <a:pt x="28308" y="119919"/>
                    <a:pt x="28308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27596" y="2664"/>
                    <a:pt x="27596" y="2664"/>
                    <a:pt x="27596" y="2664"/>
                  </a:cubicBezTo>
                  <a:cubicBezTo>
                    <a:pt x="27596" y="17119"/>
                    <a:pt x="27596" y="17119"/>
                    <a:pt x="27596" y="17119"/>
                  </a:cubicBezTo>
                  <a:cubicBezTo>
                    <a:pt x="37833" y="3310"/>
                    <a:pt x="54480" y="0"/>
                    <a:pt x="67566" y="0"/>
                  </a:cubicBezTo>
                  <a:cubicBezTo>
                    <a:pt x="98100" y="0"/>
                    <a:pt x="119910" y="19138"/>
                    <a:pt x="119910" y="46110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8" name="Shape 408"/>
            <p:cNvSpPr/>
            <p:nvPr/>
          </p:nvSpPr>
          <p:spPr>
            <a:xfrm>
              <a:off x="7542213" y="4348162"/>
              <a:ext cx="452400" cy="6936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0556" y="45210"/>
                  </a:moveTo>
                  <a:lnTo>
                    <a:pt x="110556" y="45210"/>
                  </a:lnTo>
                  <a:cubicBezTo>
                    <a:pt x="57615" y="45210"/>
                    <a:pt x="57615" y="45210"/>
                    <a:pt x="57615" y="45210"/>
                  </a:cubicBezTo>
                  <a:cubicBezTo>
                    <a:pt x="57615" y="84878"/>
                    <a:pt x="57615" y="84878"/>
                    <a:pt x="57615" y="84878"/>
                  </a:cubicBezTo>
                  <a:cubicBezTo>
                    <a:pt x="57615" y="97083"/>
                    <a:pt x="67726" y="101629"/>
                    <a:pt x="80127" y="101629"/>
                  </a:cubicBezTo>
                  <a:cubicBezTo>
                    <a:pt x="89475" y="101629"/>
                    <a:pt x="99586" y="98578"/>
                    <a:pt x="107408" y="95526"/>
                  </a:cubicBezTo>
                  <a:cubicBezTo>
                    <a:pt x="119904" y="111281"/>
                    <a:pt x="119904" y="111281"/>
                    <a:pt x="119904" y="111281"/>
                  </a:cubicBezTo>
                  <a:cubicBezTo>
                    <a:pt x="108171" y="115889"/>
                    <a:pt x="94149" y="119937"/>
                    <a:pt x="77074" y="119937"/>
                  </a:cubicBezTo>
                  <a:cubicBezTo>
                    <a:pt x="45882" y="119937"/>
                    <a:pt x="27186" y="109289"/>
                    <a:pt x="27186" y="84878"/>
                  </a:cubicBezTo>
                  <a:cubicBezTo>
                    <a:pt x="27186" y="45210"/>
                    <a:pt x="27186" y="45210"/>
                    <a:pt x="27186" y="45210"/>
                  </a:cubicBezTo>
                  <a:cubicBezTo>
                    <a:pt x="0" y="45210"/>
                    <a:pt x="0" y="45210"/>
                    <a:pt x="0" y="45210"/>
                  </a:cubicBezTo>
                  <a:cubicBezTo>
                    <a:pt x="0" y="27462"/>
                    <a:pt x="0" y="27462"/>
                    <a:pt x="0" y="27462"/>
                  </a:cubicBezTo>
                  <a:cubicBezTo>
                    <a:pt x="27186" y="27462"/>
                    <a:pt x="27186" y="27462"/>
                    <a:pt x="27186" y="27462"/>
                  </a:cubicBezTo>
                  <a:cubicBezTo>
                    <a:pt x="27186" y="0"/>
                    <a:pt x="27186" y="0"/>
                    <a:pt x="27186" y="0"/>
                  </a:cubicBezTo>
                  <a:cubicBezTo>
                    <a:pt x="57615" y="0"/>
                    <a:pt x="57615" y="0"/>
                    <a:pt x="57615" y="0"/>
                  </a:cubicBezTo>
                  <a:cubicBezTo>
                    <a:pt x="57615" y="27462"/>
                    <a:pt x="57615" y="27462"/>
                    <a:pt x="57615" y="27462"/>
                  </a:cubicBezTo>
                  <a:cubicBezTo>
                    <a:pt x="110556" y="27462"/>
                    <a:pt x="110556" y="27462"/>
                    <a:pt x="110556" y="27462"/>
                  </a:cubicBezTo>
                  <a:lnTo>
                    <a:pt x="110556" y="45210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9" name="Shape 409"/>
            <p:cNvSpPr/>
            <p:nvPr/>
          </p:nvSpPr>
          <p:spPr>
            <a:xfrm>
              <a:off x="8050213" y="4506912"/>
              <a:ext cx="485700" cy="5349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67187"/>
                  </a:moveTo>
                  <a:lnTo>
                    <a:pt x="119910" y="67187"/>
                  </a:lnTo>
                  <a:cubicBezTo>
                    <a:pt x="119910" y="104737"/>
                    <a:pt x="90089" y="119919"/>
                    <a:pt x="59643" y="119919"/>
                  </a:cubicBezTo>
                  <a:cubicBezTo>
                    <a:pt x="29821" y="119919"/>
                    <a:pt x="0" y="104737"/>
                    <a:pt x="0" y="6718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397" y="0"/>
                    <a:pt x="28397" y="0"/>
                    <a:pt x="28397" y="0"/>
                  </a:cubicBezTo>
                  <a:cubicBezTo>
                    <a:pt x="28397" y="65168"/>
                    <a:pt x="28397" y="65168"/>
                    <a:pt x="28397" y="65168"/>
                  </a:cubicBezTo>
                  <a:cubicBezTo>
                    <a:pt x="28397" y="87617"/>
                    <a:pt x="42195" y="96177"/>
                    <a:pt x="59643" y="96177"/>
                  </a:cubicBezTo>
                  <a:cubicBezTo>
                    <a:pt x="77804" y="96177"/>
                    <a:pt x="91602" y="87617"/>
                    <a:pt x="91602" y="65168"/>
                  </a:cubicBezTo>
                  <a:cubicBezTo>
                    <a:pt x="91602" y="0"/>
                    <a:pt x="91602" y="0"/>
                    <a:pt x="91602" y="0"/>
                  </a:cubicBezTo>
                  <a:cubicBezTo>
                    <a:pt x="119910" y="0"/>
                    <a:pt x="119910" y="0"/>
                    <a:pt x="119910" y="0"/>
                  </a:cubicBezTo>
                  <a:lnTo>
                    <a:pt x="119910" y="67187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Shape 410"/>
            <p:cNvSpPr/>
            <p:nvPr/>
          </p:nvSpPr>
          <p:spPr>
            <a:xfrm>
              <a:off x="8675688" y="4494212"/>
              <a:ext cx="349200" cy="5349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76" y="3310"/>
                  </a:moveTo>
                  <a:lnTo>
                    <a:pt x="119876" y="3310"/>
                  </a:lnTo>
                  <a:cubicBezTo>
                    <a:pt x="110740" y="28344"/>
                    <a:pt x="110740" y="28344"/>
                    <a:pt x="110740" y="28344"/>
                  </a:cubicBezTo>
                  <a:cubicBezTo>
                    <a:pt x="102716" y="25679"/>
                    <a:pt x="90617" y="23741"/>
                    <a:pt x="81604" y="23741"/>
                  </a:cubicBezTo>
                  <a:cubicBezTo>
                    <a:pt x="56419" y="23741"/>
                    <a:pt x="38271" y="35612"/>
                    <a:pt x="38271" y="55397"/>
                  </a:cubicBezTo>
                  <a:cubicBezTo>
                    <a:pt x="38271" y="119919"/>
                    <a:pt x="38271" y="119919"/>
                    <a:pt x="38271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38271" y="2664"/>
                    <a:pt x="38271" y="2664"/>
                    <a:pt x="38271" y="2664"/>
                  </a:cubicBezTo>
                  <a:cubicBezTo>
                    <a:pt x="38271" y="15827"/>
                    <a:pt x="38271" y="15827"/>
                    <a:pt x="38271" y="15827"/>
                  </a:cubicBezTo>
                  <a:cubicBezTo>
                    <a:pt x="50370" y="4602"/>
                    <a:pt x="68518" y="0"/>
                    <a:pt x="90617" y="0"/>
                  </a:cubicBezTo>
                  <a:cubicBezTo>
                    <a:pt x="101728" y="0"/>
                    <a:pt x="110740" y="646"/>
                    <a:pt x="119876" y="3310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Shape 411"/>
            <p:cNvSpPr/>
            <p:nvPr/>
          </p:nvSpPr>
          <p:spPr>
            <a:xfrm>
              <a:off x="9063038" y="4494212"/>
              <a:ext cx="506400" cy="546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145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2249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669" y="50322"/>
                    <a:pt x="92669" y="50322"/>
                    <a:pt x="92669" y="50322"/>
                  </a:cubicBezTo>
                  <a:cubicBezTo>
                    <a:pt x="89252" y="32231"/>
                    <a:pt x="78064" y="21882"/>
                    <a:pt x="61323" y="21882"/>
                  </a:cubicBezTo>
                  <a:cubicBezTo>
                    <a:pt x="41850" y="21882"/>
                    <a:pt x="31345" y="33495"/>
                    <a:pt x="27928" y="50322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Shape 412"/>
            <p:cNvSpPr/>
            <p:nvPr/>
          </p:nvSpPr>
          <p:spPr>
            <a:xfrm>
              <a:off x="9636125" y="4494212"/>
              <a:ext cx="462000" cy="546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3819" y="31599"/>
                  </a:moveTo>
                  <a:lnTo>
                    <a:pt x="103819" y="31599"/>
                  </a:lnTo>
                  <a:cubicBezTo>
                    <a:pt x="96243" y="27096"/>
                    <a:pt x="79407" y="21250"/>
                    <a:pt x="62665" y="21250"/>
                  </a:cubicBezTo>
                  <a:cubicBezTo>
                    <a:pt x="45830" y="21250"/>
                    <a:pt x="36664" y="27096"/>
                    <a:pt x="36664" y="35470"/>
                  </a:cubicBezTo>
                  <a:cubicBezTo>
                    <a:pt x="36664" y="43212"/>
                    <a:pt x="46578" y="45740"/>
                    <a:pt x="58830" y="47083"/>
                  </a:cubicBezTo>
                  <a:cubicBezTo>
                    <a:pt x="73328" y="48979"/>
                    <a:pt x="73328" y="48979"/>
                    <a:pt x="73328" y="48979"/>
                  </a:cubicBezTo>
                  <a:cubicBezTo>
                    <a:pt x="102322" y="52218"/>
                    <a:pt x="119906" y="63199"/>
                    <a:pt x="119906" y="82554"/>
                  </a:cubicBezTo>
                  <a:cubicBezTo>
                    <a:pt x="119906" y="104437"/>
                    <a:pt x="97739" y="119921"/>
                    <a:pt x="58830" y="119921"/>
                  </a:cubicBezTo>
                  <a:cubicBezTo>
                    <a:pt x="44333" y="119921"/>
                    <a:pt x="19922" y="117946"/>
                    <a:pt x="0" y="105069"/>
                  </a:cubicBezTo>
                  <a:cubicBezTo>
                    <a:pt x="13749" y="86425"/>
                    <a:pt x="13749" y="86425"/>
                    <a:pt x="13749" y="86425"/>
                  </a:cubicBezTo>
                  <a:cubicBezTo>
                    <a:pt x="23663" y="92824"/>
                    <a:pt x="36664" y="98038"/>
                    <a:pt x="58830" y="98038"/>
                  </a:cubicBezTo>
                  <a:cubicBezTo>
                    <a:pt x="78659" y="98038"/>
                    <a:pt x="89321" y="92824"/>
                    <a:pt x="89321" y="84450"/>
                  </a:cubicBezTo>
                  <a:cubicBezTo>
                    <a:pt x="89321" y="77972"/>
                    <a:pt x="82494" y="73469"/>
                    <a:pt x="66406" y="71573"/>
                  </a:cubicBezTo>
                  <a:cubicBezTo>
                    <a:pt x="51909" y="70309"/>
                    <a:pt x="51909" y="70309"/>
                    <a:pt x="51909" y="70309"/>
                  </a:cubicBezTo>
                  <a:cubicBezTo>
                    <a:pt x="22166" y="66359"/>
                    <a:pt x="6173" y="54825"/>
                    <a:pt x="6173" y="36734"/>
                  </a:cubicBezTo>
                  <a:cubicBezTo>
                    <a:pt x="6173" y="13508"/>
                    <a:pt x="27498" y="0"/>
                    <a:pt x="61917" y="0"/>
                  </a:cubicBezTo>
                  <a:cubicBezTo>
                    <a:pt x="83242" y="0"/>
                    <a:pt x="103070" y="4502"/>
                    <a:pt x="116819" y="11612"/>
                  </a:cubicBezTo>
                  <a:lnTo>
                    <a:pt x="103819" y="31599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4 Column Blank Panel">
    <p:spTree>
      <p:nvGrpSpPr>
        <p:cNvPr id="1" name="Shape 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4" name="Shape 414"/>
          <p:cNvPicPr preferRelativeResize="0"/>
          <p:nvPr/>
        </p:nvPicPr>
        <p:blipFill rotWithShape="1">
          <a:blip r:embed="rId2">
            <a:alphaModFix/>
          </a:blip>
          <a:srcRect b="11940"/>
          <a:stretch/>
        </p:blipFill>
        <p:spPr>
          <a:xfrm>
            <a:off x="0" y="0"/>
            <a:ext cx="88155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15" name="Shape 415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6" name="Shape 416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17" name="Shape 417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8" name="Shape 418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9" name="Shape 419"/>
          <p:cNvSpPr/>
          <p:nvPr/>
        </p:nvSpPr>
        <p:spPr>
          <a:xfrm>
            <a:off x="-1869" y="0"/>
            <a:ext cx="8815500" cy="5143500"/>
          </a:xfrm>
          <a:prstGeom prst="rect">
            <a:avLst/>
          </a:prstGeom>
          <a:gradFill>
            <a:gsLst>
              <a:gs pos="0">
                <a:srgbClr val="004CA8">
                  <a:alpha val="53725"/>
                </a:srgbClr>
              </a:gs>
              <a:gs pos="48000">
                <a:srgbClr val="318DFE">
                  <a:alpha val="55686"/>
                </a:srgbClr>
              </a:gs>
              <a:gs pos="100000">
                <a:srgbClr val="81EFF5">
                  <a:alpha val="53725"/>
                </a:srgbClr>
              </a:gs>
            </a:gsLst>
            <a:lin ang="10800025" scaled="0"/>
          </a:gra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4 Column Blank Panel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Shape 421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2" name="Shape 422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23" name="Shape 423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4" name="Shape 424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25" name="Shape 425"/>
          <p:cNvPicPr preferRelativeResize="0"/>
          <p:nvPr/>
        </p:nvPicPr>
        <p:blipFill rotWithShape="1">
          <a:blip r:embed="rId2">
            <a:alphaModFix/>
          </a:blip>
          <a:srcRect t="11863"/>
          <a:stretch/>
        </p:blipFill>
        <p:spPr>
          <a:xfrm>
            <a:off x="0" y="0"/>
            <a:ext cx="88155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26" name="Shape 426"/>
          <p:cNvSpPr/>
          <p:nvPr/>
        </p:nvSpPr>
        <p:spPr>
          <a:xfrm>
            <a:off x="0" y="0"/>
            <a:ext cx="8815500" cy="5143500"/>
          </a:xfrm>
          <a:prstGeom prst="rect">
            <a:avLst/>
          </a:prstGeom>
          <a:gradFill>
            <a:gsLst>
              <a:gs pos="0">
                <a:srgbClr val="004CA8">
                  <a:alpha val="53725"/>
                </a:srgbClr>
              </a:gs>
              <a:gs pos="48000">
                <a:srgbClr val="318DFE">
                  <a:alpha val="55686"/>
                </a:srgbClr>
              </a:gs>
              <a:gs pos="100000">
                <a:srgbClr val="81EFF5">
                  <a:alpha val="53725"/>
                </a:srgbClr>
              </a:gs>
            </a:gsLst>
            <a:lin ang="5400012" scaled="0"/>
          </a:gra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Grid System"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Shape 42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Page (Light)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Shape 430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2" name="Shape 432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33" name="Shape 433" descr="BCGDV Logo Lockup-03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879871" y="57365"/>
            <a:ext cx="22590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434" name="Shape 434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285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None/>
              <a:defRPr sz="2400" i="0" u="none" strike="noStrike" cap="none">
                <a:solidFill>
                  <a:schemeClr val="dk1"/>
                </a:solidFill>
              </a:defRPr>
            </a:lvl1pPr>
            <a:lvl2pPr lvl="1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lvl="2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lvl="3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lvl="4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lvl="5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lvl="6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lvl="7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lvl="8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7" name="TextBox 6"/>
          <p:cNvSpPr txBox="1"/>
          <p:nvPr userDrawn="1"/>
        </p:nvSpPr>
        <p:spPr>
          <a:xfrm>
            <a:off x="8770189" y="4889576"/>
            <a:ext cx="41981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7161DBB-D784-EB49-9BB3-D66A1C415DDA}" type="slidenum">
              <a:rPr lang="en-US" sz="700" b="1" smtClean="0">
                <a:latin typeface="Century Gothic" charset="0"/>
                <a:ea typeface="Century Gothic" charset="0"/>
                <a:cs typeface="Century Gothic" charset="0"/>
              </a:rPr>
              <a:t>‹#›</a:t>
            </a:fld>
            <a:endParaRPr lang="en-US" sz="7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General DV Cov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hape 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907"/>
            <a:ext cx="9143998" cy="514159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Shape 15"/>
          <p:cNvSpPr/>
          <p:nvPr/>
        </p:nvSpPr>
        <p:spPr>
          <a:xfrm>
            <a:off x="0" y="4510851"/>
            <a:ext cx="9144036" cy="652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1" name="Shape 31"/>
          <p:cNvGrpSpPr/>
          <p:nvPr/>
        </p:nvGrpSpPr>
        <p:grpSpPr>
          <a:xfrm>
            <a:off x="341515" y="4610865"/>
            <a:ext cx="845819" cy="446218"/>
            <a:chOff x="17463" y="1128712"/>
            <a:chExt cx="10080624" cy="5318124"/>
          </a:xfrm>
        </p:grpSpPr>
        <p:sp>
          <p:nvSpPr>
            <p:cNvPr id="32" name="Shape 32"/>
            <p:cNvSpPr/>
            <p:nvPr/>
          </p:nvSpPr>
          <p:spPr>
            <a:xfrm>
              <a:off x="17463" y="1128712"/>
              <a:ext cx="4603749" cy="53181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90" y="18230"/>
                  </a:moveTo>
                  <a:lnTo>
                    <a:pt x="119990" y="18230"/>
                  </a:lnTo>
                  <a:cubicBezTo>
                    <a:pt x="119990" y="17174"/>
                    <a:pt x="118996" y="16239"/>
                    <a:pt x="117766" y="16239"/>
                  </a:cubicBezTo>
                  <a:cubicBezTo>
                    <a:pt x="117156" y="16239"/>
                    <a:pt x="116622" y="16443"/>
                    <a:pt x="116237" y="16776"/>
                  </a:cubicBezTo>
                  <a:lnTo>
                    <a:pt x="116237" y="16776"/>
                  </a:lnTo>
                  <a:cubicBezTo>
                    <a:pt x="108730" y="22471"/>
                    <a:pt x="108730" y="22471"/>
                    <a:pt x="108730" y="22471"/>
                  </a:cubicBezTo>
                  <a:lnTo>
                    <a:pt x="108730" y="22471"/>
                  </a:lnTo>
                  <a:cubicBezTo>
                    <a:pt x="108730" y="22544"/>
                    <a:pt x="108655" y="22609"/>
                    <a:pt x="108580" y="22674"/>
                  </a:cubicBezTo>
                  <a:cubicBezTo>
                    <a:pt x="108196" y="22942"/>
                    <a:pt x="107661" y="23072"/>
                    <a:pt x="107201" y="23072"/>
                  </a:cubicBezTo>
                  <a:cubicBezTo>
                    <a:pt x="106816" y="23072"/>
                    <a:pt x="106432" y="23007"/>
                    <a:pt x="106131" y="22869"/>
                  </a:cubicBezTo>
                  <a:cubicBezTo>
                    <a:pt x="106056" y="22804"/>
                    <a:pt x="105981" y="22804"/>
                    <a:pt x="105981" y="22739"/>
                  </a:cubicBezTo>
                  <a:cubicBezTo>
                    <a:pt x="105672" y="22609"/>
                    <a:pt x="105672" y="22609"/>
                    <a:pt x="105672" y="22609"/>
                  </a:cubicBezTo>
                  <a:cubicBezTo>
                    <a:pt x="61262" y="333"/>
                    <a:pt x="61262" y="333"/>
                    <a:pt x="61262" y="333"/>
                  </a:cubicBezTo>
                  <a:cubicBezTo>
                    <a:pt x="61186" y="268"/>
                    <a:pt x="61186" y="268"/>
                    <a:pt x="61186" y="268"/>
                  </a:cubicBezTo>
                  <a:lnTo>
                    <a:pt x="61186" y="268"/>
                  </a:lnTo>
                  <a:cubicBezTo>
                    <a:pt x="60877" y="129"/>
                    <a:pt x="60492" y="0"/>
                    <a:pt x="60107" y="0"/>
                  </a:cubicBezTo>
                  <a:cubicBezTo>
                    <a:pt x="59648" y="0"/>
                    <a:pt x="59263" y="129"/>
                    <a:pt x="58888" y="333"/>
                  </a:cubicBezTo>
                  <a:cubicBezTo>
                    <a:pt x="58888" y="268"/>
                    <a:pt x="58888" y="268"/>
                    <a:pt x="58888" y="268"/>
                  </a:cubicBezTo>
                  <a:cubicBezTo>
                    <a:pt x="1229" y="29303"/>
                    <a:pt x="1229" y="29303"/>
                    <a:pt x="1229" y="29303"/>
                  </a:cubicBezTo>
                  <a:cubicBezTo>
                    <a:pt x="1144" y="29303"/>
                    <a:pt x="1144" y="29368"/>
                    <a:pt x="1069" y="29368"/>
                  </a:cubicBezTo>
                  <a:cubicBezTo>
                    <a:pt x="459" y="29701"/>
                    <a:pt x="0" y="30367"/>
                    <a:pt x="0" y="31025"/>
                  </a:cubicBezTo>
                  <a:cubicBezTo>
                    <a:pt x="0" y="101688"/>
                    <a:pt x="0" y="101688"/>
                    <a:pt x="0" y="101688"/>
                  </a:cubicBezTo>
                  <a:cubicBezTo>
                    <a:pt x="0" y="102817"/>
                    <a:pt x="994" y="103678"/>
                    <a:pt x="2298" y="103678"/>
                  </a:cubicBezTo>
                  <a:cubicBezTo>
                    <a:pt x="2833" y="103678"/>
                    <a:pt x="3293" y="103483"/>
                    <a:pt x="3753" y="103215"/>
                  </a:cubicBezTo>
                  <a:cubicBezTo>
                    <a:pt x="3828" y="103150"/>
                    <a:pt x="3828" y="103150"/>
                    <a:pt x="3828" y="103150"/>
                  </a:cubicBezTo>
                  <a:cubicBezTo>
                    <a:pt x="11334" y="97382"/>
                    <a:pt x="11334" y="97382"/>
                    <a:pt x="11334" y="97382"/>
                  </a:cubicBezTo>
                  <a:lnTo>
                    <a:pt x="11334" y="97382"/>
                  </a:lnTo>
                  <a:cubicBezTo>
                    <a:pt x="11719" y="97049"/>
                    <a:pt x="12254" y="96854"/>
                    <a:pt x="12864" y="96854"/>
                  </a:cubicBezTo>
                  <a:cubicBezTo>
                    <a:pt x="13248" y="96854"/>
                    <a:pt x="13549" y="96984"/>
                    <a:pt x="13933" y="97114"/>
                  </a:cubicBezTo>
                  <a:cubicBezTo>
                    <a:pt x="13933" y="97114"/>
                    <a:pt x="14008" y="97114"/>
                    <a:pt x="14008" y="97179"/>
                  </a:cubicBezTo>
                  <a:lnTo>
                    <a:pt x="14008" y="97179"/>
                  </a:lnTo>
                  <a:cubicBezTo>
                    <a:pt x="14393" y="97317"/>
                    <a:pt x="14393" y="97317"/>
                    <a:pt x="14393" y="97317"/>
                  </a:cubicBezTo>
                  <a:cubicBezTo>
                    <a:pt x="58888" y="119723"/>
                    <a:pt x="58888" y="119723"/>
                    <a:pt x="58888" y="119723"/>
                  </a:cubicBezTo>
                  <a:cubicBezTo>
                    <a:pt x="59038" y="119788"/>
                    <a:pt x="59038" y="119788"/>
                    <a:pt x="59038" y="119788"/>
                  </a:cubicBezTo>
                  <a:lnTo>
                    <a:pt x="59038" y="119788"/>
                  </a:lnTo>
                  <a:cubicBezTo>
                    <a:pt x="59347" y="119918"/>
                    <a:pt x="59723" y="119991"/>
                    <a:pt x="60107" y="119991"/>
                  </a:cubicBezTo>
                  <a:cubicBezTo>
                    <a:pt x="60417" y="119991"/>
                    <a:pt x="60802" y="119918"/>
                    <a:pt x="61027" y="119853"/>
                  </a:cubicBezTo>
                  <a:cubicBezTo>
                    <a:pt x="61027" y="119853"/>
                    <a:pt x="61102" y="119853"/>
                    <a:pt x="61102" y="119788"/>
                  </a:cubicBezTo>
                  <a:cubicBezTo>
                    <a:pt x="61337" y="119658"/>
                    <a:pt x="61337" y="119658"/>
                    <a:pt x="61337" y="119658"/>
                  </a:cubicBezTo>
                  <a:cubicBezTo>
                    <a:pt x="118686" y="90818"/>
                    <a:pt x="118686" y="90818"/>
                    <a:pt x="118686" y="90818"/>
                  </a:cubicBezTo>
                  <a:cubicBezTo>
                    <a:pt x="119071" y="90688"/>
                    <a:pt x="119071" y="90688"/>
                    <a:pt x="119071" y="90688"/>
                  </a:cubicBezTo>
                  <a:cubicBezTo>
                    <a:pt x="119605" y="90290"/>
                    <a:pt x="119990" y="89689"/>
                    <a:pt x="119990" y="89031"/>
                  </a:cubicBezTo>
                  <a:lnTo>
                    <a:pt x="119990" y="89031"/>
                  </a:lnTo>
                  <a:cubicBezTo>
                    <a:pt x="119990" y="18230"/>
                    <a:pt x="119990" y="18230"/>
                    <a:pt x="119990" y="18230"/>
                  </a:cubicBezTo>
                  <a:close/>
                  <a:moveTo>
                    <a:pt x="105672" y="81865"/>
                  </a:moveTo>
                  <a:lnTo>
                    <a:pt x="105672" y="81865"/>
                  </a:lnTo>
                  <a:cubicBezTo>
                    <a:pt x="105596" y="81865"/>
                    <a:pt x="105596" y="81865"/>
                    <a:pt x="105596" y="81865"/>
                  </a:cubicBezTo>
                  <a:cubicBezTo>
                    <a:pt x="105596" y="82531"/>
                    <a:pt x="105287" y="83125"/>
                    <a:pt x="104677" y="83458"/>
                  </a:cubicBezTo>
                  <a:cubicBezTo>
                    <a:pt x="104517" y="83523"/>
                    <a:pt x="104442" y="83588"/>
                    <a:pt x="104292" y="83661"/>
                  </a:cubicBezTo>
                  <a:cubicBezTo>
                    <a:pt x="61337" y="105271"/>
                    <a:pt x="61337" y="105271"/>
                    <a:pt x="61337" y="105271"/>
                  </a:cubicBezTo>
                  <a:lnTo>
                    <a:pt x="61337" y="105271"/>
                  </a:lnTo>
                  <a:cubicBezTo>
                    <a:pt x="61262" y="105336"/>
                    <a:pt x="61186" y="105336"/>
                    <a:pt x="61027" y="105401"/>
                  </a:cubicBezTo>
                  <a:lnTo>
                    <a:pt x="61027" y="105401"/>
                  </a:lnTo>
                  <a:cubicBezTo>
                    <a:pt x="60717" y="105539"/>
                    <a:pt x="60417" y="105604"/>
                    <a:pt x="60032" y="105604"/>
                  </a:cubicBezTo>
                  <a:cubicBezTo>
                    <a:pt x="59648" y="105604"/>
                    <a:pt x="59263" y="105539"/>
                    <a:pt x="58963" y="105336"/>
                  </a:cubicBezTo>
                  <a:lnTo>
                    <a:pt x="58963" y="105336"/>
                  </a:lnTo>
                  <a:cubicBezTo>
                    <a:pt x="58963" y="105336"/>
                    <a:pt x="58888" y="105336"/>
                    <a:pt x="58888" y="105271"/>
                  </a:cubicBezTo>
                  <a:cubicBezTo>
                    <a:pt x="25418" y="88495"/>
                    <a:pt x="25418" y="88495"/>
                    <a:pt x="25418" y="88495"/>
                  </a:cubicBezTo>
                  <a:cubicBezTo>
                    <a:pt x="25193" y="88365"/>
                    <a:pt x="25193" y="88365"/>
                    <a:pt x="25193" y="88365"/>
                  </a:cubicBezTo>
                  <a:cubicBezTo>
                    <a:pt x="24883" y="88235"/>
                    <a:pt x="24499" y="88170"/>
                    <a:pt x="24198" y="88170"/>
                  </a:cubicBezTo>
                  <a:cubicBezTo>
                    <a:pt x="23589" y="88170"/>
                    <a:pt x="23044" y="88365"/>
                    <a:pt x="22669" y="88698"/>
                  </a:cubicBezTo>
                  <a:lnTo>
                    <a:pt x="22669" y="88698"/>
                  </a:lnTo>
                  <a:cubicBezTo>
                    <a:pt x="18296" y="92012"/>
                    <a:pt x="18296" y="92012"/>
                    <a:pt x="18296" y="92012"/>
                  </a:cubicBezTo>
                  <a:cubicBezTo>
                    <a:pt x="18221" y="92142"/>
                    <a:pt x="18071" y="92207"/>
                    <a:pt x="17996" y="92272"/>
                  </a:cubicBezTo>
                  <a:lnTo>
                    <a:pt x="17996" y="92272"/>
                  </a:lnTo>
                  <a:cubicBezTo>
                    <a:pt x="17612" y="92475"/>
                    <a:pt x="17152" y="92670"/>
                    <a:pt x="16617" y="92670"/>
                  </a:cubicBezTo>
                  <a:cubicBezTo>
                    <a:pt x="15388" y="92670"/>
                    <a:pt x="14393" y="91744"/>
                    <a:pt x="14393" y="90688"/>
                  </a:cubicBezTo>
                  <a:cubicBezTo>
                    <a:pt x="14393" y="38516"/>
                    <a:pt x="14393" y="38516"/>
                    <a:pt x="14393" y="38516"/>
                  </a:cubicBezTo>
                  <a:cubicBezTo>
                    <a:pt x="14393" y="38451"/>
                    <a:pt x="14393" y="38386"/>
                    <a:pt x="14393" y="38321"/>
                  </a:cubicBezTo>
                  <a:cubicBezTo>
                    <a:pt x="14393" y="38182"/>
                    <a:pt x="14393" y="38117"/>
                    <a:pt x="14393" y="38052"/>
                  </a:cubicBezTo>
                  <a:cubicBezTo>
                    <a:pt x="14468" y="37459"/>
                    <a:pt x="14853" y="36923"/>
                    <a:pt x="15388" y="36663"/>
                  </a:cubicBezTo>
                  <a:cubicBezTo>
                    <a:pt x="15463" y="36598"/>
                    <a:pt x="15547" y="36533"/>
                    <a:pt x="15622" y="36533"/>
                  </a:cubicBezTo>
                  <a:cubicBezTo>
                    <a:pt x="58888" y="14785"/>
                    <a:pt x="58888" y="14785"/>
                    <a:pt x="58888" y="14785"/>
                  </a:cubicBezTo>
                  <a:lnTo>
                    <a:pt x="58888" y="14785"/>
                  </a:lnTo>
                  <a:cubicBezTo>
                    <a:pt x="59263" y="14582"/>
                    <a:pt x="59648" y="14452"/>
                    <a:pt x="60107" y="14452"/>
                  </a:cubicBezTo>
                  <a:cubicBezTo>
                    <a:pt x="60492" y="14452"/>
                    <a:pt x="60877" y="14582"/>
                    <a:pt x="61186" y="14720"/>
                  </a:cubicBezTo>
                  <a:lnTo>
                    <a:pt x="61186" y="14720"/>
                  </a:lnTo>
                  <a:cubicBezTo>
                    <a:pt x="94487" y="31488"/>
                    <a:pt x="94487" y="31488"/>
                    <a:pt x="94487" y="31488"/>
                  </a:cubicBezTo>
                  <a:cubicBezTo>
                    <a:pt x="94797" y="31626"/>
                    <a:pt x="94797" y="31626"/>
                    <a:pt x="94797" y="31626"/>
                  </a:cubicBezTo>
                  <a:cubicBezTo>
                    <a:pt x="95106" y="31756"/>
                    <a:pt x="95491" y="31821"/>
                    <a:pt x="95791" y="31821"/>
                  </a:cubicBezTo>
                  <a:cubicBezTo>
                    <a:pt x="96326" y="31821"/>
                    <a:pt x="96786" y="31691"/>
                    <a:pt x="97171" y="31423"/>
                  </a:cubicBezTo>
                  <a:cubicBezTo>
                    <a:pt x="97480" y="31228"/>
                    <a:pt x="97480" y="31228"/>
                    <a:pt x="97480" y="31228"/>
                  </a:cubicBezTo>
                  <a:cubicBezTo>
                    <a:pt x="101843" y="27841"/>
                    <a:pt x="101843" y="27841"/>
                    <a:pt x="101843" y="27841"/>
                  </a:cubicBezTo>
                  <a:lnTo>
                    <a:pt x="101843" y="27841"/>
                  </a:lnTo>
                  <a:cubicBezTo>
                    <a:pt x="102228" y="27516"/>
                    <a:pt x="102763" y="27312"/>
                    <a:pt x="103373" y="27312"/>
                  </a:cubicBezTo>
                  <a:cubicBezTo>
                    <a:pt x="104602" y="27312"/>
                    <a:pt x="105596" y="28109"/>
                    <a:pt x="105672" y="29173"/>
                  </a:cubicBezTo>
                  <a:cubicBezTo>
                    <a:pt x="105672" y="29238"/>
                    <a:pt x="105672" y="29238"/>
                    <a:pt x="105672" y="29303"/>
                  </a:cubicBezTo>
                  <a:lnTo>
                    <a:pt x="105672" y="29368"/>
                  </a:lnTo>
                  <a:cubicBezTo>
                    <a:pt x="105672" y="37061"/>
                    <a:pt x="105672" y="37061"/>
                    <a:pt x="105672" y="37061"/>
                  </a:cubicBezTo>
                  <a:lnTo>
                    <a:pt x="105672" y="81865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Shape 33"/>
            <p:cNvSpPr/>
            <p:nvPr/>
          </p:nvSpPr>
          <p:spPr>
            <a:xfrm>
              <a:off x="5681662" y="2157413"/>
              <a:ext cx="531811" cy="6905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0324" y="0"/>
                  </a:moveTo>
                  <a:lnTo>
                    <a:pt x="60324" y="0"/>
                  </a:lnTo>
                  <a:cubicBezTo>
                    <a:pt x="92801" y="0"/>
                    <a:pt x="116589" y="8692"/>
                    <a:pt x="116589" y="31641"/>
                  </a:cubicBezTo>
                  <a:cubicBezTo>
                    <a:pt x="116589" y="45461"/>
                    <a:pt x="107334" y="54590"/>
                    <a:pt x="93450" y="58155"/>
                  </a:cubicBezTo>
                  <a:cubicBezTo>
                    <a:pt x="108633" y="62282"/>
                    <a:pt x="119918" y="71974"/>
                    <a:pt x="119918" y="86732"/>
                  </a:cubicBezTo>
                  <a:cubicBezTo>
                    <a:pt x="119918" y="110244"/>
                    <a:pt x="97428" y="119937"/>
                    <a:pt x="62922" y="119937"/>
                  </a:cubicBezTo>
                  <a:cubicBezTo>
                    <a:pt x="0" y="119937"/>
                    <a:pt x="0" y="119937"/>
                    <a:pt x="0" y="1199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0324" y="0"/>
                  </a:lnTo>
                  <a:close/>
                  <a:moveTo>
                    <a:pt x="17861" y="12756"/>
                  </a:moveTo>
                  <a:lnTo>
                    <a:pt x="17861" y="12756"/>
                  </a:lnTo>
                  <a:cubicBezTo>
                    <a:pt x="17861" y="52589"/>
                    <a:pt x="17861" y="52589"/>
                    <a:pt x="17861" y="52589"/>
                  </a:cubicBezTo>
                  <a:cubicBezTo>
                    <a:pt x="59594" y="52589"/>
                    <a:pt x="59594" y="52589"/>
                    <a:pt x="59594" y="52589"/>
                  </a:cubicBezTo>
                  <a:cubicBezTo>
                    <a:pt x="81515" y="52589"/>
                    <a:pt x="98078" y="49025"/>
                    <a:pt x="98078" y="32704"/>
                  </a:cubicBezTo>
                  <a:cubicBezTo>
                    <a:pt x="98078" y="16883"/>
                    <a:pt x="80784" y="12756"/>
                    <a:pt x="59594" y="12756"/>
                  </a:cubicBezTo>
                  <a:lnTo>
                    <a:pt x="17861" y="12756"/>
                  </a:lnTo>
                  <a:close/>
                  <a:moveTo>
                    <a:pt x="17861" y="65846"/>
                  </a:moveTo>
                  <a:lnTo>
                    <a:pt x="17861" y="65846"/>
                  </a:lnTo>
                  <a:cubicBezTo>
                    <a:pt x="17861" y="107180"/>
                    <a:pt x="17861" y="107180"/>
                    <a:pt x="17861" y="107180"/>
                  </a:cubicBezTo>
                  <a:cubicBezTo>
                    <a:pt x="62273" y="107180"/>
                    <a:pt x="62273" y="107180"/>
                    <a:pt x="62273" y="107180"/>
                  </a:cubicBezTo>
                  <a:cubicBezTo>
                    <a:pt x="85493" y="107180"/>
                    <a:pt x="101407" y="102615"/>
                    <a:pt x="101407" y="86232"/>
                  </a:cubicBezTo>
                  <a:cubicBezTo>
                    <a:pt x="101407" y="70411"/>
                    <a:pt x="85493" y="65846"/>
                    <a:pt x="62273" y="65846"/>
                  </a:cubicBezTo>
                  <a:lnTo>
                    <a:pt x="17861" y="65846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Shape 34"/>
            <p:cNvSpPr/>
            <p:nvPr/>
          </p:nvSpPr>
          <p:spPr>
            <a:xfrm>
              <a:off x="6313487" y="2147888"/>
              <a:ext cx="641350" cy="711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32" y="23744"/>
                  </a:moveTo>
                  <a:lnTo>
                    <a:pt x="119932" y="23744"/>
                  </a:lnTo>
                  <a:cubicBezTo>
                    <a:pt x="107258" y="31700"/>
                    <a:pt x="107258" y="31700"/>
                    <a:pt x="107258" y="31700"/>
                  </a:cubicBezTo>
                  <a:cubicBezTo>
                    <a:pt x="99033" y="19797"/>
                    <a:pt x="84134" y="12874"/>
                    <a:pt x="67078" y="12874"/>
                  </a:cubicBezTo>
                  <a:cubicBezTo>
                    <a:pt x="37955" y="12874"/>
                    <a:pt x="15910" y="31700"/>
                    <a:pt x="15910" y="59939"/>
                  </a:cubicBezTo>
                  <a:cubicBezTo>
                    <a:pt x="15910" y="87692"/>
                    <a:pt x="37955" y="107004"/>
                    <a:pt x="67078" y="107004"/>
                  </a:cubicBezTo>
                  <a:cubicBezTo>
                    <a:pt x="84134" y="107004"/>
                    <a:pt x="98426" y="100080"/>
                    <a:pt x="107258" y="88178"/>
                  </a:cubicBezTo>
                  <a:cubicBezTo>
                    <a:pt x="119325" y="96133"/>
                    <a:pt x="119325" y="96133"/>
                    <a:pt x="119325" y="96133"/>
                  </a:cubicBezTo>
                  <a:cubicBezTo>
                    <a:pt x="108876" y="111012"/>
                    <a:pt x="89123" y="119939"/>
                    <a:pt x="67078" y="119939"/>
                  </a:cubicBezTo>
                  <a:cubicBezTo>
                    <a:pt x="28584" y="119939"/>
                    <a:pt x="0" y="94676"/>
                    <a:pt x="0" y="59939"/>
                  </a:cubicBezTo>
                  <a:cubicBezTo>
                    <a:pt x="0" y="24777"/>
                    <a:pt x="28584" y="0"/>
                    <a:pt x="67078" y="0"/>
                  </a:cubicBezTo>
                  <a:cubicBezTo>
                    <a:pt x="89662" y="0"/>
                    <a:pt x="109415" y="8927"/>
                    <a:pt x="119932" y="23744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Shape 35"/>
            <p:cNvSpPr/>
            <p:nvPr/>
          </p:nvSpPr>
          <p:spPr>
            <a:xfrm>
              <a:off x="7024688" y="2147888"/>
              <a:ext cx="690561" cy="711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744" y="19311"/>
                  </a:moveTo>
                  <a:lnTo>
                    <a:pt x="108744" y="19311"/>
                  </a:lnTo>
                  <a:cubicBezTo>
                    <a:pt x="98488" y="28724"/>
                    <a:pt x="98488" y="28724"/>
                    <a:pt x="98488" y="28724"/>
                  </a:cubicBezTo>
                  <a:cubicBezTo>
                    <a:pt x="89859" y="18825"/>
                    <a:pt x="77102" y="12874"/>
                    <a:pt x="62282" y="12874"/>
                  </a:cubicBezTo>
                  <a:cubicBezTo>
                    <a:pt x="35205" y="12874"/>
                    <a:pt x="14820" y="31700"/>
                    <a:pt x="14820" y="59939"/>
                  </a:cubicBezTo>
                  <a:cubicBezTo>
                    <a:pt x="14820" y="87692"/>
                    <a:pt x="35205" y="107004"/>
                    <a:pt x="61782" y="107004"/>
                  </a:cubicBezTo>
                  <a:cubicBezTo>
                    <a:pt x="86795" y="107004"/>
                    <a:pt x="102615" y="92186"/>
                    <a:pt x="104616" y="68380"/>
                  </a:cubicBezTo>
                  <a:cubicBezTo>
                    <a:pt x="67410" y="68380"/>
                    <a:pt x="67410" y="68380"/>
                    <a:pt x="67410" y="68380"/>
                  </a:cubicBezTo>
                  <a:cubicBezTo>
                    <a:pt x="67410" y="55991"/>
                    <a:pt x="67410" y="55991"/>
                    <a:pt x="67410" y="55991"/>
                  </a:cubicBezTo>
                  <a:cubicBezTo>
                    <a:pt x="119437" y="55991"/>
                    <a:pt x="119437" y="55991"/>
                    <a:pt x="119437" y="55991"/>
                  </a:cubicBezTo>
                  <a:cubicBezTo>
                    <a:pt x="119937" y="56963"/>
                    <a:pt x="119937" y="57935"/>
                    <a:pt x="119937" y="59453"/>
                  </a:cubicBezTo>
                  <a:cubicBezTo>
                    <a:pt x="119937" y="93157"/>
                    <a:pt x="97488" y="119939"/>
                    <a:pt x="61782" y="119939"/>
                  </a:cubicBezTo>
                  <a:cubicBezTo>
                    <a:pt x="30140" y="119939"/>
                    <a:pt x="0" y="97591"/>
                    <a:pt x="0" y="59939"/>
                  </a:cubicBezTo>
                  <a:cubicBezTo>
                    <a:pt x="0" y="24777"/>
                    <a:pt x="26576" y="0"/>
                    <a:pt x="62282" y="0"/>
                  </a:cubicBezTo>
                  <a:cubicBezTo>
                    <a:pt x="81167" y="0"/>
                    <a:pt x="97488" y="7408"/>
                    <a:pt x="108744" y="19311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Shape 36"/>
            <p:cNvSpPr/>
            <p:nvPr/>
          </p:nvSpPr>
          <p:spPr>
            <a:xfrm>
              <a:off x="5684837" y="3176588"/>
              <a:ext cx="700086" cy="7635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1940" y="0"/>
                  </a:moveTo>
                  <a:lnTo>
                    <a:pt x="51940" y="0"/>
                  </a:lnTo>
                  <a:cubicBezTo>
                    <a:pt x="92763" y="0"/>
                    <a:pt x="119938" y="23977"/>
                    <a:pt x="119938" y="60000"/>
                  </a:cubicBezTo>
                  <a:cubicBezTo>
                    <a:pt x="119938" y="95966"/>
                    <a:pt x="92763" y="119943"/>
                    <a:pt x="51940" y="119943"/>
                  </a:cubicBezTo>
                  <a:cubicBezTo>
                    <a:pt x="0" y="119943"/>
                    <a:pt x="0" y="119943"/>
                    <a:pt x="0" y="11994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1940" y="0"/>
                  </a:lnTo>
                  <a:close/>
                  <a:moveTo>
                    <a:pt x="21183" y="18435"/>
                  </a:moveTo>
                  <a:lnTo>
                    <a:pt x="21183" y="18435"/>
                  </a:lnTo>
                  <a:cubicBezTo>
                    <a:pt x="21183" y="101451"/>
                    <a:pt x="21183" y="101451"/>
                    <a:pt x="21183" y="101451"/>
                  </a:cubicBezTo>
                  <a:cubicBezTo>
                    <a:pt x="51940" y="101451"/>
                    <a:pt x="51940" y="101451"/>
                    <a:pt x="51940" y="101451"/>
                  </a:cubicBezTo>
                  <a:cubicBezTo>
                    <a:pt x="82635" y="101451"/>
                    <a:pt x="97766" y="83977"/>
                    <a:pt x="97766" y="60000"/>
                  </a:cubicBezTo>
                  <a:cubicBezTo>
                    <a:pt x="97766" y="35513"/>
                    <a:pt x="82635" y="18435"/>
                    <a:pt x="51940" y="18435"/>
                  </a:cubicBezTo>
                  <a:lnTo>
                    <a:pt x="21183" y="18435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Shape 37"/>
            <p:cNvSpPr/>
            <p:nvPr/>
          </p:nvSpPr>
          <p:spPr>
            <a:xfrm>
              <a:off x="6483350" y="3155950"/>
              <a:ext cx="158750" cy="7842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6606" y="24726"/>
                    <a:pt x="0" y="19329"/>
                    <a:pt x="0" y="12556"/>
                  </a:cubicBezTo>
                  <a:cubicBezTo>
                    <a:pt x="0" y="5396"/>
                    <a:pt x="26606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3981" y="119944"/>
                  </a:moveTo>
                  <a:lnTo>
                    <a:pt x="103981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3981" y="39981"/>
                    <a:pt x="103981" y="39981"/>
                    <a:pt x="103981" y="39981"/>
                  </a:cubicBezTo>
                  <a:lnTo>
                    <a:pt x="103981" y="119944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Shape 38"/>
            <p:cNvSpPr/>
            <p:nvPr/>
          </p:nvSpPr>
          <p:spPr>
            <a:xfrm>
              <a:off x="6727825" y="3402012"/>
              <a:ext cx="531812" cy="7635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4100" y="11988"/>
                  </a:moveTo>
                  <a:lnTo>
                    <a:pt x="94100" y="11988"/>
                  </a:lnTo>
                  <a:cubicBezTo>
                    <a:pt x="94100" y="2318"/>
                    <a:pt x="94100" y="2318"/>
                    <a:pt x="94100" y="2318"/>
                  </a:cubicBezTo>
                  <a:cubicBezTo>
                    <a:pt x="119918" y="2318"/>
                    <a:pt x="119918" y="2318"/>
                    <a:pt x="119918" y="2318"/>
                  </a:cubicBezTo>
                  <a:cubicBezTo>
                    <a:pt x="119918" y="78435"/>
                    <a:pt x="119918" y="78435"/>
                    <a:pt x="119918" y="78435"/>
                  </a:cubicBezTo>
                  <a:cubicBezTo>
                    <a:pt x="119918" y="104278"/>
                    <a:pt x="96048" y="119943"/>
                    <a:pt x="56995" y="119943"/>
                  </a:cubicBezTo>
                  <a:cubicBezTo>
                    <a:pt x="39133" y="119943"/>
                    <a:pt x="19891" y="116720"/>
                    <a:pt x="7307" y="110725"/>
                  </a:cubicBezTo>
                  <a:cubicBezTo>
                    <a:pt x="16562" y="95457"/>
                    <a:pt x="16562" y="95457"/>
                    <a:pt x="16562" y="95457"/>
                  </a:cubicBezTo>
                  <a:cubicBezTo>
                    <a:pt x="28497" y="100546"/>
                    <a:pt x="42462" y="103770"/>
                    <a:pt x="56995" y="103770"/>
                  </a:cubicBezTo>
                  <a:cubicBezTo>
                    <a:pt x="80866" y="103770"/>
                    <a:pt x="94100" y="94552"/>
                    <a:pt x="94100" y="79340"/>
                  </a:cubicBezTo>
                  <a:cubicBezTo>
                    <a:pt x="94100" y="72893"/>
                    <a:pt x="94100" y="72893"/>
                    <a:pt x="94100" y="72893"/>
                  </a:cubicBezTo>
                  <a:cubicBezTo>
                    <a:pt x="85493" y="80697"/>
                    <a:pt x="72259" y="84429"/>
                    <a:pt x="55047" y="84429"/>
                  </a:cubicBezTo>
                  <a:cubicBezTo>
                    <a:pt x="27848" y="84429"/>
                    <a:pt x="0" y="68708"/>
                    <a:pt x="0" y="42469"/>
                  </a:cubicBezTo>
                  <a:cubicBezTo>
                    <a:pt x="0" y="15721"/>
                    <a:pt x="27848" y="0"/>
                    <a:pt x="55047" y="0"/>
                  </a:cubicBezTo>
                  <a:cubicBezTo>
                    <a:pt x="72259" y="0"/>
                    <a:pt x="85493" y="4184"/>
                    <a:pt x="94100" y="11988"/>
                  </a:cubicBezTo>
                  <a:close/>
                  <a:moveTo>
                    <a:pt x="26549" y="42469"/>
                  </a:moveTo>
                  <a:lnTo>
                    <a:pt x="26549" y="42469"/>
                  </a:lnTo>
                  <a:cubicBezTo>
                    <a:pt x="26549" y="56324"/>
                    <a:pt x="39783" y="67803"/>
                    <a:pt x="61623" y="67803"/>
                  </a:cubicBezTo>
                  <a:cubicBezTo>
                    <a:pt x="82165" y="67803"/>
                    <a:pt x="96048" y="56776"/>
                    <a:pt x="96048" y="42469"/>
                  </a:cubicBezTo>
                  <a:cubicBezTo>
                    <a:pt x="96048" y="28162"/>
                    <a:pt x="82165" y="17078"/>
                    <a:pt x="61623" y="17078"/>
                  </a:cubicBezTo>
                  <a:cubicBezTo>
                    <a:pt x="39783" y="17078"/>
                    <a:pt x="26549" y="28614"/>
                    <a:pt x="26549" y="42469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Shape 39"/>
            <p:cNvSpPr/>
            <p:nvPr/>
          </p:nvSpPr>
          <p:spPr>
            <a:xfrm>
              <a:off x="7383463" y="3155950"/>
              <a:ext cx="158750" cy="7842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4434" y="24726"/>
                    <a:pt x="0" y="19329"/>
                    <a:pt x="0" y="12556"/>
                  </a:cubicBezTo>
                  <a:cubicBezTo>
                    <a:pt x="0" y="5396"/>
                    <a:pt x="24434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4253" y="119944"/>
                  </a:moveTo>
                  <a:lnTo>
                    <a:pt x="104253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4253" y="39981"/>
                    <a:pt x="104253" y="39981"/>
                    <a:pt x="104253" y="39981"/>
                  </a:cubicBezTo>
                  <a:lnTo>
                    <a:pt x="104253" y="119944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Shape 40"/>
            <p:cNvSpPr/>
            <p:nvPr/>
          </p:nvSpPr>
          <p:spPr>
            <a:xfrm>
              <a:off x="7600950" y="3259138"/>
              <a:ext cx="452438" cy="69373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319" y="45295"/>
                  </a:moveTo>
                  <a:lnTo>
                    <a:pt x="111319" y="45295"/>
                  </a:lnTo>
                  <a:cubicBezTo>
                    <a:pt x="58378" y="45295"/>
                    <a:pt x="58378" y="45295"/>
                    <a:pt x="58378" y="45295"/>
                  </a:cubicBezTo>
                  <a:cubicBezTo>
                    <a:pt x="58378" y="84423"/>
                    <a:pt x="58378" y="84423"/>
                    <a:pt x="58378" y="84423"/>
                  </a:cubicBezTo>
                  <a:cubicBezTo>
                    <a:pt x="58378" y="96573"/>
                    <a:pt x="67726" y="101619"/>
                    <a:pt x="80222" y="101619"/>
                  </a:cubicBezTo>
                  <a:cubicBezTo>
                    <a:pt x="89475" y="101619"/>
                    <a:pt x="99682" y="98629"/>
                    <a:pt x="108171" y="95576"/>
                  </a:cubicBezTo>
                  <a:cubicBezTo>
                    <a:pt x="119904" y="111339"/>
                    <a:pt x="119904" y="111339"/>
                    <a:pt x="119904" y="111339"/>
                  </a:cubicBezTo>
                  <a:cubicBezTo>
                    <a:pt x="108934" y="115887"/>
                    <a:pt x="95007" y="119937"/>
                    <a:pt x="77837" y="119937"/>
                  </a:cubicBezTo>
                  <a:cubicBezTo>
                    <a:pt x="45882" y="119937"/>
                    <a:pt x="28044" y="108785"/>
                    <a:pt x="28044" y="84922"/>
                  </a:cubicBezTo>
                  <a:cubicBezTo>
                    <a:pt x="28044" y="45295"/>
                    <a:pt x="28044" y="45295"/>
                    <a:pt x="28044" y="45295"/>
                  </a:cubicBezTo>
                  <a:cubicBezTo>
                    <a:pt x="0" y="45295"/>
                    <a:pt x="0" y="45295"/>
                    <a:pt x="0" y="45295"/>
                  </a:cubicBezTo>
                  <a:cubicBezTo>
                    <a:pt x="0" y="27476"/>
                    <a:pt x="0" y="27476"/>
                    <a:pt x="0" y="27476"/>
                  </a:cubicBezTo>
                  <a:cubicBezTo>
                    <a:pt x="28044" y="27476"/>
                    <a:pt x="28044" y="27476"/>
                    <a:pt x="28044" y="27476"/>
                  </a:cubicBezTo>
                  <a:cubicBezTo>
                    <a:pt x="28044" y="0"/>
                    <a:pt x="28044" y="0"/>
                    <a:pt x="28044" y="0"/>
                  </a:cubicBezTo>
                  <a:cubicBezTo>
                    <a:pt x="58378" y="0"/>
                    <a:pt x="58378" y="0"/>
                    <a:pt x="58378" y="0"/>
                  </a:cubicBezTo>
                  <a:cubicBezTo>
                    <a:pt x="58378" y="27476"/>
                    <a:pt x="58378" y="27476"/>
                    <a:pt x="58378" y="27476"/>
                  </a:cubicBezTo>
                  <a:cubicBezTo>
                    <a:pt x="111319" y="27476"/>
                    <a:pt x="111319" y="27476"/>
                    <a:pt x="111319" y="27476"/>
                  </a:cubicBezTo>
                  <a:lnTo>
                    <a:pt x="111319" y="45295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Shape 41"/>
            <p:cNvSpPr/>
            <p:nvPr/>
          </p:nvSpPr>
          <p:spPr>
            <a:xfrm>
              <a:off x="8078788" y="3402012"/>
              <a:ext cx="538161" cy="5492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9" y="117404"/>
                  </a:moveTo>
                  <a:lnTo>
                    <a:pt x="119919" y="117404"/>
                  </a:lnTo>
                  <a:cubicBezTo>
                    <a:pt x="94956" y="117404"/>
                    <a:pt x="94956" y="117404"/>
                    <a:pt x="94956" y="117404"/>
                  </a:cubicBezTo>
                  <a:cubicBezTo>
                    <a:pt x="94956" y="103250"/>
                    <a:pt x="94956" y="103250"/>
                    <a:pt x="94956" y="103250"/>
                  </a:cubicBezTo>
                  <a:cubicBezTo>
                    <a:pt x="86448" y="113551"/>
                    <a:pt x="74648" y="119921"/>
                    <a:pt x="58274" y="119921"/>
                  </a:cubicBezTo>
                  <a:cubicBezTo>
                    <a:pt x="25605" y="119921"/>
                    <a:pt x="0" y="94914"/>
                    <a:pt x="0" y="60314"/>
                  </a:cubicBezTo>
                  <a:cubicBezTo>
                    <a:pt x="0" y="25006"/>
                    <a:pt x="25605" y="0"/>
                    <a:pt x="58274" y="0"/>
                  </a:cubicBezTo>
                  <a:cubicBezTo>
                    <a:pt x="74648" y="0"/>
                    <a:pt x="86448" y="7077"/>
                    <a:pt x="94956" y="16671"/>
                  </a:cubicBezTo>
                  <a:cubicBezTo>
                    <a:pt x="94956" y="3224"/>
                    <a:pt x="94956" y="3224"/>
                    <a:pt x="94956" y="3224"/>
                  </a:cubicBezTo>
                  <a:cubicBezTo>
                    <a:pt x="119919" y="3224"/>
                    <a:pt x="119919" y="3224"/>
                    <a:pt x="119919" y="3224"/>
                  </a:cubicBezTo>
                  <a:lnTo>
                    <a:pt x="119919" y="117404"/>
                  </a:lnTo>
                  <a:close/>
                  <a:moveTo>
                    <a:pt x="26247" y="60314"/>
                  </a:moveTo>
                  <a:lnTo>
                    <a:pt x="26247" y="60314"/>
                  </a:lnTo>
                  <a:cubicBezTo>
                    <a:pt x="26247" y="80209"/>
                    <a:pt x="39331" y="96802"/>
                    <a:pt x="60923" y="96802"/>
                  </a:cubicBezTo>
                  <a:cubicBezTo>
                    <a:pt x="82515" y="96802"/>
                    <a:pt x="96321" y="80917"/>
                    <a:pt x="96321" y="60314"/>
                  </a:cubicBezTo>
                  <a:cubicBezTo>
                    <a:pt x="96321" y="39161"/>
                    <a:pt x="82515" y="23748"/>
                    <a:pt x="60923" y="23748"/>
                  </a:cubicBezTo>
                  <a:cubicBezTo>
                    <a:pt x="39331" y="23748"/>
                    <a:pt x="26247" y="40419"/>
                    <a:pt x="26247" y="60314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Shape 42"/>
            <p:cNvSpPr/>
            <p:nvPr/>
          </p:nvSpPr>
          <p:spPr>
            <a:xfrm>
              <a:off x="8764588" y="3155950"/>
              <a:ext cx="114300" cy="7842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623" y="119944"/>
                  </a:moveTo>
                  <a:lnTo>
                    <a:pt x="0" y="119944"/>
                  </a:lnTo>
                  <a:lnTo>
                    <a:pt x="0" y="0"/>
                  </a:lnTo>
                  <a:lnTo>
                    <a:pt x="119623" y="0"/>
                  </a:lnTo>
                  <a:lnTo>
                    <a:pt x="119623" y="119944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Shape 43"/>
            <p:cNvSpPr/>
            <p:nvPr/>
          </p:nvSpPr>
          <p:spPr>
            <a:xfrm>
              <a:off x="5640387" y="4265612"/>
              <a:ext cx="738187" cy="7635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2620" y="119943"/>
                  </a:moveTo>
                  <a:lnTo>
                    <a:pt x="47320" y="119943"/>
                  </a:lnTo>
                  <a:lnTo>
                    <a:pt x="0" y="0"/>
                  </a:lnTo>
                  <a:lnTo>
                    <a:pt x="21493" y="0"/>
                  </a:lnTo>
                  <a:lnTo>
                    <a:pt x="60204" y="100103"/>
                  </a:lnTo>
                  <a:lnTo>
                    <a:pt x="98916" y="0"/>
                  </a:lnTo>
                  <a:lnTo>
                    <a:pt x="119941" y="0"/>
                  </a:lnTo>
                  <a:lnTo>
                    <a:pt x="72620" y="119943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Shape 44"/>
            <p:cNvSpPr/>
            <p:nvPr/>
          </p:nvSpPr>
          <p:spPr>
            <a:xfrm>
              <a:off x="6362700" y="4494212"/>
              <a:ext cx="506412" cy="546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231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1565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071" y="50322"/>
                    <a:pt x="92071" y="50322"/>
                    <a:pt x="92071" y="50322"/>
                  </a:cubicBezTo>
                  <a:cubicBezTo>
                    <a:pt x="89252" y="32231"/>
                    <a:pt x="78064" y="21882"/>
                    <a:pt x="60640" y="21882"/>
                  </a:cubicBezTo>
                  <a:cubicBezTo>
                    <a:pt x="41850" y="21882"/>
                    <a:pt x="30661" y="33495"/>
                    <a:pt x="27928" y="50322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Shape 45"/>
            <p:cNvSpPr/>
            <p:nvPr/>
          </p:nvSpPr>
          <p:spPr>
            <a:xfrm>
              <a:off x="6983413" y="4494212"/>
              <a:ext cx="485775" cy="5349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46110"/>
                  </a:moveTo>
                  <a:lnTo>
                    <a:pt x="119910" y="46110"/>
                  </a:lnTo>
                  <a:cubicBezTo>
                    <a:pt x="119910" y="119919"/>
                    <a:pt x="119910" y="119919"/>
                    <a:pt x="119910" y="119919"/>
                  </a:cubicBezTo>
                  <a:cubicBezTo>
                    <a:pt x="91513" y="119919"/>
                    <a:pt x="91513" y="119919"/>
                    <a:pt x="91513" y="119919"/>
                  </a:cubicBezTo>
                  <a:cubicBezTo>
                    <a:pt x="91513" y="54670"/>
                    <a:pt x="91513" y="54670"/>
                    <a:pt x="91513" y="54670"/>
                  </a:cubicBezTo>
                  <a:cubicBezTo>
                    <a:pt x="91513" y="34966"/>
                    <a:pt x="80652" y="23741"/>
                    <a:pt x="61780" y="23741"/>
                  </a:cubicBezTo>
                  <a:cubicBezTo>
                    <a:pt x="43620" y="23741"/>
                    <a:pt x="28308" y="34966"/>
                    <a:pt x="28308" y="54670"/>
                  </a:cubicBezTo>
                  <a:cubicBezTo>
                    <a:pt x="28308" y="119919"/>
                    <a:pt x="28308" y="119919"/>
                    <a:pt x="28308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27596" y="2664"/>
                    <a:pt x="27596" y="2664"/>
                    <a:pt x="27596" y="2664"/>
                  </a:cubicBezTo>
                  <a:cubicBezTo>
                    <a:pt x="27596" y="17119"/>
                    <a:pt x="27596" y="17119"/>
                    <a:pt x="27596" y="17119"/>
                  </a:cubicBezTo>
                  <a:cubicBezTo>
                    <a:pt x="37833" y="3310"/>
                    <a:pt x="54480" y="0"/>
                    <a:pt x="67566" y="0"/>
                  </a:cubicBezTo>
                  <a:cubicBezTo>
                    <a:pt x="98100" y="0"/>
                    <a:pt x="119910" y="19138"/>
                    <a:pt x="119910" y="46110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Shape 46"/>
            <p:cNvSpPr/>
            <p:nvPr/>
          </p:nvSpPr>
          <p:spPr>
            <a:xfrm>
              <a:off x="7542213" y="4348162"/>
              <a:ext cx="452436" cy="69373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0556" y="45210"/>
                  </a:moveTo>
                  <a:lnTo>
                    <a:pt x="110556" y="45210"/>
                  </a:lnTo>
                  <a:cubicBezTo>
                    <a:pt x="57615" y="45210"/>
                    <a:pt x="57615" y="45210"/>
                    <a:pt x="57615" y="45210"/>
                  </a:cubicBezTo>
                  <a:cubicBezTo>
                    <a:pt x="57615" y="84878"/>
                    <a:pt x="57615" y="84878"/>
                    <a:pt x="57615" y="84878"/>
                  </a:cubicBezTo>
                  <a:cubicBezTo>
                    <a:pt x="57615" y="97083"/>
                    <a:pt x="67726" y="101629"/>
                    <a:pt x="80127" y="101629"/>
                  </a:cubicBezTo>
                  <a:cubicBezTo>
                    <a:pt x="89475" y="101629"/>
                    <a:pt x="99586" y="98578"/>
                    <a:pt x="107408" y="95526"/>
                  </a:cubicBezTo>
                  <a:cubicBezTo>
                    <a:pt x="119904" y="111281"/>
                    <a:pt x="119904" y="111281"/>
                    <a:pt x="119904" y="111281"/>
                  </a:cubicBezTo>
                  <a:cubicBezTo>
                    <a:pt x="108171" y="115889"/>
                    <a:pt x="94149" y="119937"/>
                    <a:pt x="77074" y="119937"/>
                  </a:cubicBezTo>
                  <a:cubicBezTo>
                    <a:pt x="45882" y="119937"/>
                    <a:pt x="27186" y="109289"/>
                    <a:pt x="27186" y="84878"/>
                  </a:cubicBezTo>
                  <a:cubicBezTo>
                    <a:pt x="27186" y="45210"/>
                    <a:pt x="27186" y="45210"/>
                    <a:pt x="27186" y="45210"/>
                  </a:cubicBezTo>
                  <a:cubicBezTo>
                    <a:pt x="0" y="45210"/>
                    <a:pt x="0" y="45210"/>
                    <a:pt x="0" y="45210"/>
                  </a:cubicBezTo>
                  <a:cubicBezTo>
                    <a:pt x="0" y="27462"/>
                    <a:pt x="0" y="27462"/>
                    <a:pt x="0" y="27462"/>
                  </a:cubicBezTo>
                  <a:cubicBezTo>
                    <a:pt x="27186" y="27462"/>
                    <a:pt x="27186" y="27462"/>
                    <a:pt x="27186" y="27462"/>
                  </a:cubicBezTo>
                  <a:cubicBezTo>
                    <a:pt x="27186" y="0"/>
                    <a:pt x="27186" y="0"/>
                    <a:pt x="27186" y="0"/>
                  </a:cubicBezTo>
                  <a:cubicBezTo>
                    <a:pt x="57615" y="0"/>
                    <a:pt x="57615" y="0"/>
                    <a:pt x="57615" y="0"/>
                  </a:cubicBezTo>
                  <a:cubicBezTo>
                    <a:pt x="57615" y="27462"/>
                    <a:pt x="57615" y="27462"/>
                    <a:pt x="57615" y="27462"/>
                  </a:cubicBezTo>
                  <a:cubicBezTo>
                    <a:pt x="110556" y="27462"/>
                    <a:pt x="110556" y="27462"/>
                    <a:pt x="110556" y="27462"/>
                  </a:cubicBezTo>
                  <a:lnTo>
                    <a:pt x="110556" y="45210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Shape 47"/>
            <p:cNvSpPr/>
            <p:nvPr/>
          </p:nvSpPr>
          <p:spPr>
            <a:xfrm>
              <a:off x="8050213" y="4506912"/>
              <a:ext cx="485775" cy="5349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67187"/>
                  </a:moveTo>
                  <a:lnTo>
                    <a:pt x="119910" y="67187"/>
                  </a:lnTo>
                  <a:cubicBezTo>
                    <a:pt x="119910" y="104737"/>
                    <a:pt x="90089" y="119919"/>
                    <a:pt x="59643" y="119919"/>
                  </a:cubicBezTo>
                  <a:cubicBezTo>
                    <a:pt x="29821" y="119919"/>
                    <a:pt x="0" y="104737"/>
                    <a:pt x="0" y="6718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397" y="0"/>
                    <a:pt x="28397" y="0"/>
                    <a:pt x="28397" y="0"/>
                  </a:cubicBezTo>
                  <a:cubicBezTo>
                    <a:pt x="28397" y="65168"/>
                    <a:pt x="28397" y="65168"/>
                    <a:pt x="28397" y="65168"/>
                  </a:cubicBezTo>
                  <a:cubicBezTo>
                    <a:pt x="28397" y="87617"/>
                    <a:pt x="42195" y="96177"/>
                    <a:pt x="59643" y="96177"/>
                  </a:cubicBezTo>
                  <a:cubicBezTo>
                    <a:pt x="77804" y="96177"/>
                    <a:pt x="91602" y="87617"/>
                    <a:pt x="91602" y="65168"/>
                  </a:cubicBezTo>
                  <a:cubicBezTo>
                    <a:pt x="91602" y="0"/>
                    <a:pt x="91602" y="0"/>
                    <a:pt x="91602" y="0"/>
                  </a:cubicBezTo>
                  <a:cubicBezTo>
                    <a:pt x="119910" y="0"/>
                    <a:pt x="119910" y="0"/>
                    <a:pt x="119910" y="0"/>
                  </a:cubicBezTo>
                  <a:lnTo>
                    <a:pt x="119910" y="67187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Shape 48"/>
            <p:cNvSpPr/>
            <p:nvPr/>
          </p:nvSpPr>
          <p:spPr>
            <a:xfrm>
              <a:off x="8675688" y="4494212"/>
              <a:ext cx="349250" cy="5349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76" y="3310"/>
                  </a:moveTo>
                  <a:lnTo>
                    <a:pt x="119876" y="3310"/>
                  </a:lnTo>
                  <a:cubicBezTo>
                    <a:pt x="110740" y="28344"/>
                    <a:pt x="110740" y="28344"/>
                    <a:pt x="110740" y="28344"/>
                  </a:cubicBezTo>
                  <a:cubicBezTo>
                    <a:pt x="102716" y="25679"/>
                    <a:pt x="90617" y="23741"/>
                    <a:pt x="81604" y="23741"/>
                  </a:cubicBezTo>
                  <a:cubicBezTo>
                    <a:pt x="56419" y="23741"/>
                    <a:pt x="38271" y="35612"/>
                    <a:pt x="38271" y="55397"/>
                  </a:cubicBezTo>
                  <a:cubicBezTo>
                    <a:pt x="38271" y="119919"/>
                    <a:pt x="38271" y="119919"/>
                    <a:pt x="38271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38271" y="2664"/>
                    <a:pt x="38271" y="2664"/>
                    <a:pt x="38271" y="2664"/>
                  </a:cubicBezTo>
                  <a:cubicBezTo>
                    <a:pt x="38271" y="15827"/>
                    <a:pt x="38271" y="15827"/>
                    <a:pt x="38271" y="15827"/>
                  </a:cubicBezTo>
                  <a:cubicBezTo>
                    <a:pt x="50370" y="4602"/>
                    <a:pt x="68518" y="0"/>
                    <a:pt x="90617" y="0"/>
                  </a:cubicBezTo>
                  <a:cubicBezTo>
                    <a:pt x="101728" y="0"/>
                    <a:pt x="110740" y="646"/>
                    <a:pt x="119876" y="3310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Shape 49"/>
            <p:cNvSpPr/>
            <p:nvPr/>
          </p:nvSpPr>
          <p:spPr>
            <a:xfrm>
              <a:off x="9063038" y="4494212"/>
              <a:ext cx="506412" cy="546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145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2249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669" y="50322"/>
                    <a:pt x="92669" y="50322"/>
                    <a:pt x="92669" y="50322"/>
                  </a:cubicBezTo>
                  <a:cubicBezTo>
                    <a:pt x="89252" y="32231"/>
                    <a:pt x="78064" y="21882"/>
                    <a:pt x="61323" y="21882"/>
                  </a:cubicBezTo>
                  <a:cubicBezTo>
                    <a:pt x="41850" y="21882"/>
                    <a:pt x="31345" y="33495"/>
                    <a:pt x="27928" y="50322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Shape 50"/>
            <p:cNvSpPr/>
            <p:nvPr/>
          </p:nvSpPr>
          <p:spPr>
            <a:xfrm>
              <a:off x="9636125" y="4494212"/>
              <a:ext cx="461962" cy="546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3819" y="31599"/>
                  </a:moveTo>
                  <a:lnTo>
                    <a:pt x="103819" y="31599"/>
                  </a:lnTo>
                  <a:cubicBezTo>
                    <a:pt x="96243" y="27096"/>
                    <a:pt x="79407" y="21250"/>
                    <a:pt x="62665" y="21250"/>
                  </a:cubicBezTo>
                  <a:cubicBezTo>
                    <a:pt x="45830" y="21250"/>
                    <a:pt x="36664" y="27096"/>
                    <a:pt x="36664" y="35470"/>
                  </a:cubicBezTo>
                  <a:cubicBezTo>
                    <a:pt x="36664" y="43212"/>
                    <a:pt x="46578" y="45740"/>
                    <a:pt x="58830" y="47083"/>
                  </a:cubicBezTo>
                  <a:cubicBezTo>
                    <a:pt x="73328" y="48979"/>
                    <a:pt x="73328" y="48979"/>
                    <a:pt x="73328" y="48979"/>
                  </a:cubicBezTo>
                  <a:cubicBezTo>
                    <a:pt x="102322" y="52218"/>
                    <a:pt x="119906" y="63199"/>
                    <a:pt x="119906" y="82554"/>
                  </a:cubicBezTo>
                  <a:cubicBezTo>
                    <a:pt x="119906" y="104437"/>
                    <a:pt x="97739" y="119921"/>
                    <a:pt x="58830" y="119921"/>
                  </a:cubicBezTo>
                  <a:cubicBezTo>
                    <a:pt x="44333" y="119921"/>
                    <a:pt x="19922" y="117946"/>
                    <a:pt x="0" y="105069"/>
                  </a:cubicBezTo>
                  <a:cubicBezTo>
                    <a:pt x="13749" y="86425"/>
                    <a:pt x="13749" y="86425"/>
                    <a:pt x="13749" y="86425"/>
                  </a:cubicBezTo>
                  <a:cubicBezTo>
                    <a:pt x="23663" y="92824"/>
                    <a:pt x="36664" y="98038"/>
                    <a:pt x="58830" y="98038"/>
                  </a:cubicBezTo>
                  <a:cubicBezTo>
                    <a:pt x="78659" y="98038"/>
                    <a:pt x="89321" y="92824"/>
                    <a:pt x="89321" y="84450"/>
                  </a:cubicBezTo>
                  <a:cubicBezTo>
                    <a:pt x="89321" y="77972"/>
                    <a:pt x="82494" y="73469"/>
                    <a:pt x="66406" y="71573"/>
                  </a:cubicBezTo>
                  <a:cubicBezTo>
                    <a:pt x="51909" y="70309"/>
                    <a:pt x="51909" y="70309"/>
                    <a:pt x="51909" y="70309"/>
                  </a:cubicBezTo>
                  <a:cubicBezTo>
                    <a:pt x="22166" y="66359"/>
                    <a:pt x="6173" y="54825"/>
                    <a:pt x="6173" y="36734"/>
                  </a:cubicBezTo>
                  <a:cubicBezTo>
                    <a:pt x="6173" y="13508"/>
                    <a:pt x="27498" y="0"/>
                    <a:pt x="61917" y="0"/>
                  </a:cubicBezTo>
                  <a:cubicBezTo>
                    <a:pt x="83242" y="0"/>
                    <a:pt x="103070" y="4502"/>
                    <a:pt x="116819" y="11612"/>
                  </a:cubicBezTo>
                  <a:lnTo>
                    <a:pt x="103819" y="31599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1" name="Shape 51"/>
          <p:cNvSpPr/>
          <p:nvPr/>
        </p:nvSpPr>
        <p:spPr>
          <a:xfrm>
            <a:off x="-36" y="1907"/>
            <a:ext cx="9143998" cy="4509785"/>
          </a:xfrm>
          <a:prstGeom prst="rect">
            <a:avLst/>
          </a:prstGeom>
          <a:gradFill>
            <a:gsLst>
              <a:gs pos="0">
                <a:srgbClr val="004CA8">
                  <a:alpha val="64705"/>
                </a:srgbClr>
              </a:gs>
              <a:gs pos="47000">
                <a:srgbClr val="318DFE">
                  <a:alpha val="68627"/>
                </a:srgbClr>
              </a:gs>
              <a:gs pos="100000">
                <a:srgbClr val="81EFF5">
                  <a:alpha val="60784"/>
                </a:srgbClr>
              </a:gs>
            </a:gsLst>
            <a:lin ang="16200000" scaled="0"/>
          </a:gra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losing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" name="Shape 136"/>
          <p:cNvPicPr preferRelativeResize="0"/>
          <p:nvPr/>
        </p:nvPicPr>
        <p:blipFill rotWithShape="1">
          <a:blip r:embed="rId2">
            <a:alphaModFix/>
          </a:blip>
          <a:srcRect t="633" b="633"/>
          <a:stretch/>
        </p:blipFill>
        <p:spPr>
          <a:xfrm>
            <a:off x="0" y="0"/>
            <a:ext cx="9143998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137" name="Shape 137"/>
          <p:cNvSpPr/>
          <p:nvPr/>
        </p:nvSpPr>
        <p:spPr>
          <a:xfrm>
            <a:off x="0" y="0"/>
            <a:ext cx="9144000" cy="5143499"/>
          </a:xfrm>
          <a:prstGeom prst="rect">
            <a:avLst/>
          </a:prstGeom>
          <a:solidFill>
            <a:schemeClr val="dk2">
              <a:alpha val="69803"/>
            </a:schemeClr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" name="Shape 138"/>
          <p:cNvSpPr txBox="1"/>
          <p:nvPr/>
        </p:nvSpPr>
        <p:spPr>
          <a:xfrm>
            <a:off x="552560" y="1932408"/>
            <a:ext cx="3782525" cy="1434239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>
              <a:lnSpc>
                <a:spcPct val="90000"/>
              </a:lnSpc>
              <a:buSzPct val="25000"/>
            </a:pPr>
            <a:r>
              <a:rPr lang="en-US" sz="48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Keep </a:t>
            </a:r>
            <a:br>
              <a:rPr lang="en-US" sz="48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lang="en-US" sz="48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n Touch</a:t>
            </a:r>
          </a:p>
        </p:txBody>
      </p:sp>
      <p:sp>
        <p:nvSpPr>
          <p:cNvPr id="139" name="Shape 139"/>
          <p:cNvSpPr txBox="1"/>
          <p:nvPr/>
        </p:nvSpPr>
        <p:spPr>
          <a:xfrm>
            <a:off x="5701966" y="2741893"/>
            <a:ext cx="3053413" cy="461664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>
              <a:lnSpc>
                <a:spcPct val="150000"/>
              </a:lnSpc>
              <a:buClr>
                <a:srgbClr val="FFFFFF"/>
              </a:buClr>
              <a:buSzPct val="25000"/>
              <a:buFont typeface="Century Gothic"/>
              <a:buNone/>
            </a:pPr>
            <a:r>
              <a:rPr lang="en-US" sz="8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BCGDV</a:t>
            </a:r>
            <a:r>
              <a:rPr lang="en-US" sz="8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 •  + 61 2 7200 2300  •  BCGDV.COM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8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EVEL 1, 80 GEORGE STREET, THE ROCKS, 2000</a:t>
            </a:r>
          </a:p>
        </p:txBody>
      </p:sp>
      <p:grpSp>
        <p:nvGrpSpPr>
          <p:cNvPr id="140" name="Shape 140"/>
          <p:cNvGrpSpPr/>
          <p:nvPr/>
        </p:nvGrpSpPr>
        <p:grpSpPr>
          <a:xfrm>
            <a:off x="5792921" y="2159909"/>
            <a:ext cx="930401" cy="490841"/>
            <a:chOff x="17463" y="1128712"/>
            <a:chExt cx="10080624" cy="5318124"/>
          </a:xfrm>
        </p:grpSpPr>
        <p:sp>
          <p:nvSpPr>
            <p:cNvPr id="141" name="Shape 141"/>
            <p:cNvSpPr/>
            <p:nvPr/>
          </p:nvSpPr>
          <p:spPr>
            <a:xfrm>
              <a:off x="17463" y="1128712"/>
              <a:ext cx="4603749" cy="53181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90" y="18230"/>
                  </a:moveTo>
                  <a:lnTo>
                    <a:pt x="119990" y="18230"/>
                  </a:lnTo>
                  <a:cubicBezTo>
                    <a:pt x="119990" y="17174"/>
                    <a:pt x="118996" y="16239"/>
                    <a:pt x="117766" y="16239"/>
                  </a:cubicBezTo>
                  <a:cubicBezTo>
                    <a:pt x="117156" y="16239"/>
                    <a:pt x="116622" y="16443"/>
                    <a:pt x="116237" y="16776"/>
                  </a:cubicBezTo>
                  <a:lnTo>
                    <a:pt x="116237" y="16776"/>
                  </a:lnTo>
                  <a:cubicBezTo>
                    <a:pt x="108730" y="22471"/>
                    <a:pt x="108730" y="22471"/>
                    <a:pt x="108730" y="22471"/>
                  </a:cubicBezTo>
                  <a:lnTo>
                    <a:pt x="108730" y="22471"/>
                  </a:lnTo>
                  <a:cubicBezTo>
                    <a:pt x="108730" y="22544"/>
                    <a:pt x="108655" y="22609"/>
                    <a:pt x="108580" y="22674"/>
                  </a:cubicBezTo>
                  <a:cubicBezTo>
                    <a:pt x="108196" y="22942"/>
                    <a:pt x="107661" y="23072"/>
                    <a:pt x="107201" y="23072"/>
                  </a:cubicBezTo>
                  <a:cubicBezTo>
                    <a:pt x="106816" y="23072"/>
                    <a:pt x="106432" y="23007"/>
                    <a:pt x="106131" y="22869"/>
                  </a:cubicBezTo>
                  <a:cubicBezTo>
                    <a:pt x="106056" y="22804"/>
                    <a:pt x="105981" y="22804"/>
                    <a:pt x="105981" y="22739"/>
                  </a:cubicBezTo>
                  <a:cubicBezTo>
                    <a:pt x="105672" y="22609"/>
                    <a:pt x="105672" y="22609"/>
                    <a:pt x="105672" y="22609"/>
                  </a:cubicBezTo>
                  <a:cubicBezTo>
                    <a:pt x="61262" y="333"/>
                    <a:pt x="61262" y="333"/>
                    <a:pt x="61262" y="333"/>
                  </a:cubicBezTo>
                  <a:cubicBezTo>
                    <a:pt x="61186" y="268"/>
                    <a:pt x="61186" y="268"/>
                    <a:pt x="61186" y="268"/>
                  </a:cubicBezTo>
                  <a:lnTo>
                    <a:pt x="61186" y="268"/>
                  </a:lnTo>
                  <a:cubicBezTo>
                    <a:pt x="60877" y="129"/>
                    <a:pt x="60492" y="0"/>
                    <a:pt x="60107" y="0"/>
                  </a:cubicBezTo>
                  <a:cubicBezTo>
                    <a:pt x="59648" y="0"/>
                    <a:pt x="59263" y="129"/>
                    <a:pt x="58888" y="333"/>
                  </a:cubicBezTo>
                  <a:cubicBezTo>
                    <a:pt x="58888" y="268"/>
                    <a:pt x="58888" y="268"/>
                    <a:pt x="58888" y="268"/>
                  </a:cubicBezTo>
                  <a:cubicBezTo>
                    <a:pt x="1229" y="29303"/>
                    <a:pt x="1229" y="29303"/>
                    <a:pt x="1229" y="29303"/>
                  </a:cubicBezTo>
                  <a:cubicBezTo>
                    <a:pt x="1144" y="29303"/>
                    <a:pt x="1144" y="29368"/>
                    <a:pt x="1069" y="29368"/>
                  </a:cubicBezTo>
                  <a:cubicBezTo>
                    <a:pt x="459" y="29701"/>
                    <a:pt x="0" y="30367"/>
                    <a:pt x="0" y="31025"/>
                  </a:cubicBezTo>
                  <a:cubicBezTo>
                    <a:pt x="0" y="101688"/>
                    <a:pt x="0" y="101688"/>
                    <a:pt x="0" y="101688"/>
                  </a:cubicBezTo>
                  <a:cubicBezTo>
                    <a:pt x="0" y="102817"/>
                    <a:pt x="994" y="103678"/>
                    <a:pt x="2298" y="103678"/>
                  </a:cubicBezTo>
                  <a:cubicBezTo>
                    <a:pt x="2833" y="103678"/>
                    <a:pt x="3293" y="103483"/>
                    <a:pt x="3753" y="103215"/>
                  </a:cubicBezTo>
                  <a:cubicBezTo>
                    <a:pt x="3828" y="103150"/>
                    <a:pt x="3828" y="103150"/>
                    <a:pt x="3828" y="103150"/>
                  </a:cubicBezTo>
                  <a:cubicBezTo>
                    <a:pt x="11334" y="97382"/>
                    <a:pt x="11334" y="97382"/>
                    <a:pt x="11334" y="97382"/>
                  </a:cubicBezTo>
                  <a:lnTo>
                    <a:pt x="11334" y="97382"/>
                  </a:lnTo>
                  <a:cubicBezTo>
                    <a:pt x="11719" y="97049"/>
                    <a:pt x="12254" y="96854"/>
                    <a:pt x="12864" y="96854"/>
                  </a:cubicBezTo>
                  <a:cubicBezTo>
                    <a:pt x="13248" y="96854"/>
                    <a:pt x="13549" y="96984"/>
                    <a:pt x="13933" y="97114"/>
                  </a:cubicBezTo>
                  <a:cubicBezTo>
                    <a:pt x="13933" y="97114"/>
                    <a:pt x="14008" y="97114"/>
                    <a:pt x="14008" y="97179"/>
                  </a:cubicBezTo>
                  <a:lnTo>
                    <a:pt x="14008" y="97179"/>
                  </a:lnTo>
                  <a:cubicBezTo>
                    <a:pt x="14393" y="97317"/>
                    <a:pt x="14393" y="97317"/>
                    <a:pt x="14393" y="97317"/>
                  </a:cubicBezTo>
                  <a:cubicBezTo>
                    <a:pt x="58888" y="119723"/>
                    <a:pt x="58888" y="119723"/>
                    <a:pt x="58888" y="119723"/>
                  </a:cubicBezTo>
                  <a:cubicBezTo>
                    <a:pt x="59038" y="119788"/>
                    <a:pt x="59038" y="119788"/>
                    <a:pt x="59038" y="119788"/>
                  </a:cubicBezTo>
                  <a:lnTo>
                    <a:pt x="59038" y="119788"/>
                  </a:lnTo>
                  <a:cubicBezTo>
                    <a:pt x="59347" y="119918"/>
                    <a:pt x="59723" y="119991"/>
                    <a:pt x="60107" y="119991"/>
                  </a:cubicBezTo>
                  <a:cubicBezTo>
                    <a:pt x="60417" y="119991"/>
                    <a:pt x="60802" y="119918"/>
                    <a:pt x="61027" y="119853"/>
                  </a:cubicBezTo>
                  <a:cubicBezTo>
                    <a:pt x="61027" y="119853"/>
                    <a:pt x="61102" y="119853"/>
                    <a:pt x="61102" y="119788"/>
                  </a:cubicBezTo>
                  <a:cubicBezTo>
                    <a:pt x="61337" y="119658"/>
                    <a:pt x="61337" y="119658"/>
                    <a:pt x="61337" y="119658"/>
                  </a:cubicBezTo>
                  <a:cubicBezTo>
                    <a:pt x="118686" y="90818"/>
                    <a:pt x="118686" y="90818"/>
                    <a:pt x="118686" y="90818"/>
                  </a:cubicBezTo>
                  <a:cubicBezTo>
                    <a:pt x="119071" y="90688"/>
                    <a:pt x="119071" y="90688"/>
                    <a:pt x="119071" y="90688"/>
                  </a:cubicBezTo>
                  <a:cubicBezTo>
                    <a:pt x="119605" y="90290"/>
                    <a:pt x="119990" y="89689"/>
                    <a:pt x="119990" y="89031"/>
                  </a:cubicBezTo>
                  <a:lnTo>
                    <a:pt x="119990" y="89031"/>
                  </a:lnTo>
                  <a:cubicBezTo>
                    <a:pt x="119990" y="18230"/>
                    <a:pt x="119990" y="18230"/>
                    <a:pt x="119990" y="18230"/>
                  </a:cubicBezTo>
                  <a:close/>
                  <a:moveTo>
                    <a:pt x="105672" y="81865"/>
                  </a:moveTo>
                  <a:lnTo>
                    <a:pt x="105672" y="81865"/>
                  </a:lnTo>
                  <a:cubicBezTo>
                    <a:pt x="105596" y="81865"/>
                    <a:pt x="105596" y="81865"/>
                    <a:pt x="105596" y="81865"/>
                  </a:cubicBezTo>
                  <a:cubicBezTo>
                    <a:pt x="105596" y="82531"/>
                    <a:pt x="105287" y="83125"/>
                    <a:pt x="104677" y="83458"/>
                  </a:cubicBezTo>
                  <a:cubicBezTo>
                    <a:pt x="104517" y="83523"/>
                    <a:pt x="104442" y="83588"/>
                    <a:pt x="104292" y="83661"/>
                  </a:cubicBezTo>
                  <a:cubicBezTo>
                    <a:pt x="61337" y="105271"/>
                    <a:pt x="61337" y="105271"/>
                    <a:pt x="61337" y="105271"/>
                  </a:cubicBezTo>
                  <a:lnTo>
                    <a:pt x="61337" y="105271"/>
                  </a:lnTo>
                  <a:cubicBezTo>
                    <a:pt x="61262" y="105336"/>
                    <a:pt x="61186" y="105336"/>
                    <a:pt x="61027" y="105401"/>
                  </a:cubicBezTo>
                  <a:lnTo>
                    <a:pt x="61027" y="105401"/>
                  </a:lnTo>
                  <a:cubicBezTo>
                    <a:pt x="60717" y="105539"/>
                    <a:pt x="60417" y="105604"/>
                    <a:pt x="60032" y="105604"/>
                  </a:cubicBezTo>
                  <a:cubicBezTo>
                    <a:pt x="59648" y="105604"/>
                    <a:pt x="59263" y="105539"/>
                    <a:pt x="58963" y="105336"/>
                  </a:cubicBezTo>
                  <a:lnTo>
                    <a:pt x="58963" y="105336"/>
                  </a:lnTo>
                  <a:cubicBezTo>
                    <a:pt x="58963" y="105336"/>
                    <a:pt x="58888" y="105336"/>
                    <a:pt x="58888" y="105271"/>
                  </a:cubicBezTo>
                  <a:cubicBezTo>
                    <a:pt x="25418" y="88495"/>
                    <a:pt x="25418" y="88495"/>
                    <a:pt x="25418" y="88495"/>
                  </a:cubicBezTo>
                  <a:cubicBezTo>
                    <a:pt x="25193" y="88365"/>
                    <a:pt x="25193" y="88365"/>
                    <a:pt x="25193" y="88365"/>
                  </a:cubicBezTo>
                  <a:cubicBezTo>
                    <a:pt x="24883" y="88235"/>
                    <a:pt x="24499" y="88170"/>
                    <a:pt x="24198" y="88170"/>
                  </a:cubicBezTo>
                  <a:cubicBezTo>
                    <a:pt x="23589" y="88170"/>
                    <a:pt x="23044" y="88365"/>
                    <a:pt x="22669" y="88698"/>
                  </a:cubicBezTo>
                  <a:lnTo>
                    <a:pt x="22669" y="88698"/>
                  </a:lnTo>
                  <a:cubicBezTo>
                    <a:pt x="18296" y="92012"/>
                    <a:pt x="18296" y="92012"/>
                    <a:pt x="18296" y="92012"/>
                  </a:cubicBezTo>
                  <a:cubicBezTo>
                    <a:pt x="18221" y="92142"/>
                    <a:pt x="18071" y="92207"/>
                    <a:pt x="17996" y="92272"/>
                  </a:cubicBezTo>
                  <a:lnTo>
                    <a:pt x="17996" y="92272"/>
                  </a:lnTo>
                  <a:cubicBezTo>
                    <a:pt x="17612" y="92475"/>
                    <a:pt x="17152" y="92670"/>
                    <a:pt x="16617" y="92670"/>
                  </a:cubicBezTo>
                  <a:cubicBezTo>
                    <a:pt x="15388" y="92670"/>
                    <a:pt x="14393" y="91744"/>
                    <a:pt x="14393" y="90688"/>
                  </a:cubicBezTo>
                  <a:cubicBezTo>
                    <a:pt x="14393" y="38516"/>
                    <a:pt x="14393" y="38516"/>
                    <a:pt x="14393" y="38516"/>
                  </a:cubicBezTo>
                  <a:cubicBezTo>
                    <a:pt x="14393" y="38451"/>
                    <a:pt x="14393" y="38386"/>
                    <a:pt x="14393" y="38321"/>
                  </a:cubicBezTo>
                  <a:cubicBezTo>
                    <a:pt x="14393" y="38182"/>
                    <a:pt x="14393" y="38117"/>
                    <a:pt x="14393" y="38052"/>
                  </a:cubicBezTo>
                  <a:cubicBezTo>
                    <a:pt x="14468" y="37459"/>
                    <a:pt x="14853" y="36923"/>
                    <a:pt x="15388" y="36663"/>
                  </a:cubicBezTo>
                  <a:cubicBezTo>
                    <a:pt x="15463" y="36598"/>
                    <a:pt x="15547" y="36533"/>
                    <a:pt x="15622" y="36533"/>
                  </a:cubicBezTo>
                  <a:cubicBezTo>
                    <a:pt x="58888" y="14785"/>
                    <a:pt x="58888" y="14785"/>
                    <a:pt x="58888" y="14785"/>
                  </a:cubicBezTo>
                  <a:lnTo>
                    <a:pt x="58888" y="14785"/>
                  </a:lnTo>
                  <a:cubicBezTo>
                    <a:pt x="59263" y="14582"/>
                    <a:pt x="59648" y="14452"/>
                    <a:pt x="60107" y="14452"/>
                  </a:cubicBezTo>
                  <a:cubicBezTo>
                    <a:pt x="60492" y="14452"/>
                    <a:pt x="60877" y="14582"/>
                    <a:pt x="61186" y="14720"/>
                  </a:cubicBezTo>
                  <a:lnTo>
                    <a:pt x="61186" y="14720"/>
                  </a:lnTo>
                  <a:cubicBezTo>
                    <a:pt x="94487" y="31488"/>
                    <a:pt x="94487" y="31488"/>
                    <a:pt x="94487" y="31488"/>
                  </a:cubicBezTo>
                  <a:cubicBezTo>
                    <a:pt x="94797" y="31626"/>
                    <a:pt x="94797" y="31626"/>
                    <a:pt x="94797" y="31626"/>
                  </a:cubicBezTo>
                  <a:cubicBezTo>
                    <a:pt x="95106" y="31756"/>
                    <a:pt x="95491" y="31821"/>
                    <a:pt x="95791" y="31821"/>
                  </a:cubicBezTo>
                  <a:cubicBezTo>
                    <a:pt x="96326" y="31821"/>
                    <a:pt x="96786" y="31691"/>
                    <a:pt x="97171" y="31423"/>
                  </a:cubicBezTo>
                  <a:cubicBezTo>
                    <a:pt x="97480" y="31228"/>
                    <a:pt x="97480" y="31228"/>
                    <a:pt x="97480" y="31228"/>
                  </a:cubicBezTo>
                  <a:cubicBezTo>
                    <a:pt x="101843" y="27841"/>
                    <a:pt x="101843" y="27841"/>
                    <a:pt x="101843" y="27841"/>
                  </a:cubicBezTo>
                  <a:lnTo>
                    <a:pt x="101843" y="27841"/>
                  </a:lnTo>
                  <a:cubicBezTo>
                    <a:pt x="102228" y="27516"/>
                    <a:pt x="102763" y="27312"/>
                    <a:pt x="103373" y="27312"/>
                  </a:cubicBezTo>
                  <a:cubicBezTo>
                    <a:pt x="104602" y="27312"/>
                    <a:pt x="105596" y="28109"/>
                    <a:pt x="105672" y="29173"/>
                  </a:cubicBezTo>
                  <a:cubicBezTo>
                    <a:pt x="105672" y="29238"/>
                    <a:pt x="105672" y="29238"/>
                    <a:pt x="105672" y="29303"/>
                  </a:cubicBezTo>
                  <a:lnTo>
                    <a:pt x="105672" y="29368"/>
                  </a:lnTo>
                  <a:cubicBezTo>
                    <a:pt x="105672" y="37061"/>
                    <a:pt x="105672" y="37061"/>
                    <a:pt x="105672" y="37061"/>
                  </a:cubicBezTo>
                  <a:lnTo>
                    <a:pt x="105672" y="81865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Shape 142"/>
            <p:cNvSpPr/>
            <p:nvPr/>
          </p:nvSpPr>
          <p:spPr>
            <a:xfrm>
              <a:off x="5681662" y="2157413"/>
              <a:ext cx="531811" cy="6905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0324" y="0"/>
                  </a:moveTo>
                  <a:lnTo>
                    <a:pt x="60324" y="0"/>
                  </a:lnTo>
                  <a:cubicBezTo>
                    <a:pt x="92801" y="0"/>
                    <a:pt x="116589" y="8692"/>
                    <a:pt x="116589" y="31641"/>
                  </a:cubicBezTo>
                  <a:cubicBezTo>
                    <a:pt x="116589" y="45461"/>
                    <a:pt x="107334" y="54590"/>
                    <a:pt x="93450" y="58155"/>
                  </a:cubicBezTo>
                  <a:cubicBezTo>
                    <a:pt x="108633" y="62282"/>
                    <a:pt x="119918" y="71974"/>
                    <a:pt x="119918" y="86732"/>
                  </a:cubicBezTo>
                  <a:cubicBezTo>
                    <a:pt x="119918" y="110244"/>
                    <a:pt x="97428" y="119937"/>
                    <a:pt x="62922" y="119937"/>
                  </a:cubicBezTo>
                  <a:cubicBezTo>
                    <a:pt x="0" y="119937"/>
                    <a:pt x="0" y="119937"/>
                    <a:pt x="0" y="1199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0324" y="0"/>
                  </a:lnTo>
                  <a:close/>
                  <a:moveTo>
                    <a:pt x="17861" y="12756"/>
                  </a:moveTo>
                  <a:lnTo>
                    <a:pt x="17861" y="12756"/>
                  </a:lnTo>
                  <a:cubicBezTo>
                    <a:pt x="17861" y="52589"/>
                    <a:pt x="17861" y="52589"/>
                    <a:pt x="17861" y="52589"/>
                  </a:cubicBezTo>
                  <a:cubicBezTo>
                    <a:pt x="59594" y="52589"/>
                    <a:pt x="59594" y="52589"/>
                    <a:pt x="59594" y="52589"/>
                  </a:cubicBezTo>
                  <a:cubicBezTo>
                    <a:pt x="81515" y="52589"/>
                    <a:pt x="98078" y="49025"/>
                    <a:pt x="98078" y="32704"/>
                  </a:cubicBezTo>
                  <a:cubicBezTo>
                    <a:pt x="98078" y="16883"/>
                    <a:pt x="80784" y="12756"/>
                    <a:pt x="59594" y="12756"/>
                  </a:cubicBezTo>
                  <a:lnTo>
                    <a:pt x="17861" y="12756"/>
                  </a:lnTo>
                  <a:close/>
                  <a:moveTo>
                    <a:pt x="17861" y="65846"/>
                  </a:moveTo>
                  <a:lnTo>
                    <a:pt x="17861" y="65846"/>
                  </a:lnTo>
                  <a:cubicBezTo>
                    <a:pt x="17861" y="107180"/>
                    <a:pt x="17861" y="107180"/>
                    <a:pt x="17861" y="107180"/>
                  </a:cubicBezTo>
                  <a:cubicBezTo>
                    <a:pt x="62273" y="107180"/>
                    <a:pt x="62273" y="107180"/>
                    <a:pt x="62273" y="107180"/>
                  </a:cubicBezTo>
                  <a:cubicBezTo>
                    <a:pt x="85493" y="107180"/>
                    <a:pt x="101407" y="102615"/>
                    <a:pt x="101407" y="86232"/>
                  </a:cubicBezTo>
                  <a:cubicBezTo>
                    <a:pt x="101407" y="70411"/>
                    <a:pt x="85493" y="65846"/>
                    <a:pt x="62273" y="65846"/>
                  </a:cubicBezTo>
                  <a:lnTo>
                    <a:pt x="17861" y="6584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Shape 143"/>
            <p:cNvSpPr/>
            <p:nvPr/>
          </p:nvSpPr>
          <p:spPr>
            <a:xfrm>
              <a:off x="6313487" y="2147888"/>
              <a:ext cx="641350" cy="711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32" y="23744"/>
                  </a:moveTo>
                  <a:lnTo>
                    <a:pt x="119932" y="23744"/>
                  </a:lnTo>
                  <a:cubicBezTo>
                    <a:pt x="107258" y="31700"/>
                    <a:pt x="107258" y="31700"/>
                    <a:pt x="107258" y="31700"/>
                  </a:cubicBezTo>
                  <a:cubicBezTo>
                    <a:pt x="99033" y="19797"/>
                    <a:pt x="84134" y="12874"/>
                    <a:pt x="67078" y="12874"/>
                  </a:cubicBezTo>
                  <a:cubicBezTo>
                    <a:pt x="37955" y="12874"/>
                    <a:pt x="15910" y="31700"/>
                    <a:pt x="15910" y="59939"/>
                  </a:cubicBezTo>
                  <a:cubicBezTo>
                    <a:pt x="15910" y="87692"/>
                    <a:pt x="37955" y="107004"/>
                    <a:pt x="67078" y="107004"/>
                  </a:cubicBezTo>
                  <a:cubicBezTo>
                    <a:pt x="84134" y="107004"/>
                    <a:pt x="98426" y="100080"/>
                    <a:pt x="107258" y="88178"/>
                  </a:cubicBezTo>
                  <a:cubicBezTo>
                    <a:pt x="119325" y="96133"/>
                    <a:pt x="119325" y="96133"/>
                    <a:pt x="119325" y="96133"/>
                  </a:cubicBezTo>
                  <a:cubicBezTo>
                    <a:pt x="108876" y="111012"/>
                    <a:pt x="89123" y="119939"/>
                    <a:pt x="67078" y="119939"/>
                  </a:cubicBezTo>
                  <a:cubicBezTo>
                    <a:pt x="28584" y="119939"/>
                    <a:pt x="0" y="94676"/>
                    <a:pt x="0" y="59939"/>
                  </a:cubicBezTo>
                  <a:cubicBezTo>
                    <a:pt x="0" y="24777"/>
                    <a:pt x="28584" y="0"/>
                    <a:pt x="67078" y="0"/>
                  </a:cubicBezTo>
                  <a:cubicBezTo>
                    <a:pt x="89662" y="0"/>
                    <a:pt x="109415" y="8927"/>
                    <a:pt x="119932" y="23744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Shape 144"/>
            <p:cNvSpPr/>
            <p:nvPr/>
          </p:nvSpPr>
          <p:spPr>
            <a:xfrm>
              <a:off x="7024688" y="2147888"/>
              <a:ext cx="690561" cy="711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744" y="19311"/>
                  </a:moveTo>
                  <a:lnTo>
                    <a:pt x="108744" y="19311"/>
                  </a:lnTo>
                  <a:cubicBezTo>
                    <a:pt x="98488" y="28724"/>
                    <a:pt x="98488" y="28724"/>
                    <a:pt x="98488" y="28724"/>
                  </a:cubicBezTo>
                  <a:cubicBezTo>
                    <a:pt x="89859" y="18825"/>
                    <a:pt x="77102" y="12874"/>
                    <a:pt x="62282" y="12874"/>
                  </a:cubicBezTo>
                  <a:cubicBezTo>
                    <a:pt x="35205" y="12874"/>
                    <a:pt x="14820" y="31700"/>
                    <a:pt x="14820" y="59939"/>
                  </a:cubicBezTo>
                  <a:cubicBezTo>
                    <a:pt x="14820" y="87692"/>
                    <a:pt x="35205" y="107004"/>
                    <a:pt x="61782" y="107004"/>
                  </a:cubicBezTo>
                  <a:cubicBezTo>
                    <a:pt x="86795" y="107004"/>
                    <a:pt x="102615" y="92186"/>
                    <a:pt x="104616" y="68380"/>
                  </a:cubicBezTo>
                  <a:cubicBezTo>
                    <a:pt x="67410" y="68380"/>
                    <a:pt x="67410" y="68380"/>
                    <a:pt x="67410" y="68380"/>
                  </a:cubicBezTo>
                  <a:cubicBezTo>
                    <a:pt x="67410" y="55991"/>
                    <a:pt x="67410" y="55991"/>
                    <a:pt x="67410" y="55991"/>
                  </a:cubicBezTo>
                  <a:cubicBezTo>
                    <a:pt x="119437" y="55991"/>
                    <a:pt x="119437" y="55991"/>
                    <a:pt x="119437" y="55991"/>
                  </a:cubicBezTo>
                  <a:cubicBezTo>
                    <a:pt x="119937" y="56963"/>
                    <a:pt x="119937" y="57935"/>
                    <a:pt x="119937" y="59453"/>
                  </a:cubicBezTo>
                  <a:cubicBezTo>
                    <a:pt x="119937" y="93157"/>
                    <a:pt x="97488" y="119939"/>
                    <a:pt x="61782" y="119939"/>
                  </a:cubicBezTo>
                  <a:cubicBezTo>
                    <a:pt x="30140" y="119939"/>
                    <a:pt x="0" y="97591"/>
                    <a:pt x="0" y="59939"/>
                  </a:cubicBezTo>
                  <a:cubicBezTo>
                    <a:pt x="0" y="24777"/>
                    <a:pt x="26576" y="0"/>
                    <a:pt x="62282" y="0"/>
                  </a:cubicBezTo>
                  <a:cubicBezTo>
                    <a:pt x="81167" y="0"/>
                    <a:pt x="97488" y="7408"/>
                    <a:pt x="108744" y="1931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Shape 145"/>
            <p:cNvSpPr/>
            <p:nvPr/>
          </p:nvSpPr>
          <p:spPr>
            <a:xfrm>
              <a:off x="5684837" y="3176588"/>
              <a:ext cx="700086" cy="7635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1940" y="0"/>
                  </a:moveTo>
                  <a:lnTo>
                    <a:pt x="51940" y="0"/>
                  </a:lnTo>
                  <a:cubicBezTo>
                    <a:pt x="92763" y="0"/>
                    <a:pt x="119938" y="23977"/>
                    <a:pt x="119938" y="60000"/>
                  </a:cubicBezTo>
                  <a:cubicBezTo>
                    <a:pt x="119938" y="95966"/>
                    <a:pt x="92763" y="119943"/>
                    <a:pt x="51940" y="119943"/>
                  </a:cubicBezTo>
                  <a:cubicBezTo>
                    <a:pt x="0" y="119943"/>
                    <a:pt x="0" y="119943"/>
                    <a:pt x="0" y="11994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1940" y="0"/>
                  </a:lnTo>
                  <a:close/>
                  <a:moveTo>
                    <a:pt x="21183" y="18435"/>
                  </a:moveTo>
                  <a:lnTo>
                    <a:pt x="21183" y="18435"/>
                  </a:lnTo>
                  <a:cubicBezTo>
                    <a:pt x="21183" y="101451"/>
                    <a:pt x="21183" y="101451"/>
                    <a:pt x="21183" y="101451"/>
                  </a:cubicBezTo>
                  <a:cubicBezTo>
                    <a:pt x="51940" y="101451"/>
                    <a:pt x="51940" y="101451"/>
                    <a:pt x="51940" y="101451"/>
                  </a:cubicBezTo>
                  <a:cubicBezTo>
                    <a:pt x="82635" y="101451"/>
                    <a:pt x="97766" y="83977"/>
                    <a:pt x="97766" y="60000"/>
                  </a:cubicBezTo>
                  <a:cubicBezTo>
                    <a:pt x="97766" y="35513"/>
                    <a:pt x="82635" y="18435"/>
                    <a:pt x="51940" y="18435"/>
                  </a:cubicBezTo>
                  <a:lnTo>
                    <a:pt x="21183" y="18435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Shape 146"/>
            <p:cNvSpPr/>
            <p:nvPr/>
          </p:nvSpPr>
          <p:spPr>
            <a:xfrm>
              <a:off x="6483350" y="3155950"/>
              <a:ext cx="158750" cy="7842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6606" y="24726"/>
                    <a:pt x="0" y="19329"/>
                    <a:pt x="0" y="12556"/>
                  </a:cubicBezTo>
                  <a:cubicBezTo>
                    <a:pt x="0" y="5396"/>
                    <a:pt x="26606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3981" y="119944"/>
                  </a:moveTo>
                  <a:lnTo>
                    <a:pt x="103981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3981" y="39981"/>
                    <a:pt x="103981" y="39981"/>
                    <a:pt x="103981" y="39981"/>
                  </a:cubicBezTo>
                  <a:lnTo>
                    <a:pt x="103981" y="1199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Shape 147"/>
            <p:cNvSpPr/>
            <p:nvPr/>
          </p:nvSpPr>
          <p:spPr>
            <a:xfrm>
              <a:off x="6727825" y="3402012"/>
              <a:ext cx="531812" cy="7635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4100" y="11988"/>
                  </a:moveTo>
                  <a:lnTo>
                    <a:pt x="94100" y="11988"/>
                  </a:lnTo>
                  <a:cubicBezTo>
                    <a:pt x="94100" y="2318"/>
                    <a:pt x="94100" y="2318"/>
                    <a:pt x="94100" y="2318"/>
                  </a:cubicBezTo>
                  <a:cubicBezTo>
                    <a:pt x="119918" y="2318"/>
                    <a:pt x="119918" y="2318"/>
                    <a:pt x="119918" y="2318"/>
                  </a:cubicBezTo>
                  <a:cubicBezTo>
                    <a:pt x="119918" y="78435"/>
                    <a:pt x="119918" y="78435"/>
                    <a:pt x="119918" y="78435"/>
                  </a:cubicBezTo>
                  <a:cubicBezTo>
                    <a:pt x="119918" y="104278"/>
                    <a:pt x="96048" y="119943"/>
                    <a:pt x="56995" y="119943"/>
                  </a:cubicBezTo>
                  <a:cubicBezTo>
                    <a:pt x="39133" y="119943"/>
                    <a:pt x="19891" y="116720"/>
                    <a:pt x="7307" y="110725"/>
                  </a:cubicBezTo>
                  <a:cubicBezTo>
                    <a:pt x="16562" y="95457"/>
                    <a:pt x="16562" y="95457"/>
                    <a:pt x="16562" y="95457"/>
                  </a:cubicBezTo>
                  <a:cubicBezTo>
                    <a:pt x="28497" y="100546"/>
                    <a:pt x="42462" y="103770"/>
                    <a:pt x="56995" y="103770"/>
                  </a:cubicBezTo>
                  <a:cubicBezTo>
                    <a:pt x="80866" y="103770"/>
                    <a:pt x="94100" y="94552"/>
                    <a:pt x="94100" y="79340"/>
                  </a:cubicBezTo>
                  <a:cubicBezTo>
                    <a:pt x="94100" y="72893"/>
                    <a:pt x="94100" y="72893"/>
                    <a:pt x="94100" y="72893"/>
                  </a:cubicBezTo>
                  <a:cubicBezTo>
                    <a:pt x="85493" y="80697"/>
                    <a:pt x="72259" y="84429"/>
                    <a:pt x="55047" y="84429"/>
                  </a:cubicBezTo>
                  <a:cubicBezTo>
                    <a:pt x="27848" y="84429"/>
                    <a:pt x="0" y="68708"/>
                    <a:pt x="0" y="42469"/>
                  </a:cubicBezTo>
                  <a:cubicBezTo>
                    <a:pt x="0" y="15721"/>
                    <a:pt x="27848" y="0"/>
                    <a:pt x="55047" y="0"/>
                  </a:cubicBezTo>
                  <a:cubicBezTo>
                    <a:pt x="72259" y="0"/>
                    <a:pt x="85493" y="4184"/>
                    <a:pt x="94100" y="11988"/>
                  </a:cubicBezTo>
                  <a:close/>
                  <a:moveTo>
                    <a:pt x="26549" y="42469"/>
                  </a:moveTo>
                  <a:lnTo>
                    <a:pt x="26549" y="42469"/>
                  </a:lnTo>
                  <a:cubicBezTo>
                    <a:pt x="26549" y="56324"/>
                    <a:pt x="39783" y="67803"/>
                    <a:pt x="61623" y="67803"/>
                  </a:cubicBezTo>
                  <a:cubicBezTo>
                    <a:pt x="82165" y="67803"/>
                    <a:pt x="96048" y="56776"/>
                    <a:pt x="96048" y="42469"/>
                  </a:cubicBezTo>
                  <a:cubicBezTo>
                    <a:pt x="96048" y="28162"/>
                    <a:pt x="82165" y="17078"/>
                    <a:pt x="61623" y="17078"/>
                  </a:cubicBezTo>
                  <a:cubicBezTo>
                    <a:pt x="39783" y="17078"/>
                    <a:pt x="26549" y="28614"/>
                    <a:pt x="26549" y="4246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Shape 148"/>
            <p:cNvSpPr/>
            <p:nvPr/>
          </p:nvSpPr>
          <p:spPr>
            <a:xfrm>
              <a:off x="7383463" y="3155950"/>
              <a:ext cx="158750" cy="7842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4434" y="24726"/>
                    <a:pt x="0" y="19329"/>
                    <a:pt x="0" y="12556"/>
                  </a:cubicBezTo>
                  <a:cubicBezTo>
                    <a:pt x="0" y="5396"/>
                    <a:pt x="24434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4253" y="119944"/>
                  </a:moveTo>
                  <a:lnTo>
                    <a:pt x="104253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4253" y="39981"/>
                    <a:pt x="104253" y="39981"/>
                    <a:pt x="104253" y="39981"/>
                  </a:cubicBezTo>
                  <a:lnTo>
                    <a:pt x="104253" y="1199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Shape 149"/>
            <p:cNvSpPr/>
            <p:nvPr/>
          </p:nvSpPr>
          <p:spPr>
            <a:xfrm>
              <a:off x="7600950" y="3259138"/>
              <a:ext cx="452438" cy="69373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319" y="45295"/>
                  </a:moveTo>
                  <a:lnTo>
                    <a:pt x="111319" y="45295"/>
                  </a:lnTo>
                  <a:cubicBezTo>
                    <a:pt x="58378" y="45295"/>
                    <a:pt x="58378" y="45295"/>
                    <a:pt x="58378" y="45295"/>
                  </a:cubicBezTo>
                  <a:cubicBezTo>
                    <a:pt x="58378" y="84423"/>
                    <a:pt x="58378" y="84423"/>
                    <a:pt x="58378" y="84423"/>
                  </a:cubicBezTo>
                  <a:cubicBezTo>
                    <a:pt x="58378" y="96573"/>
                    <a:pt x="67726" y="101619"/>
                    <a:pt x="80222" y="101619"/>
                  </a:cubicBezTo>
                  <a:cubicBezTo>
                    <a:pt x="89475" y="101619"/>
                    <a:pt x="99682" y="98629"/>
                    <a:pt x="108171" y="95576"/>
                  </a:cubicBezTo>
                  <a:cubicBezTo>
                    <a:pt x="119904" y="111339"/>
                    <a:pt x="119904" y="111339"/>
                    <a:pt x="119904" y="111339"/>
                  </a:cubicBezTo>
                  <a:cubicBezTo>
                    <a:pt x="108934" y="115887"/>
                    <a:pt x="95007" y="119937"/>
                    <a:pt x="77837" y="119937"/>
                  </a:cubicBezTo>
                  <a:cubicBezTo>
                    <a:pt x="45882" y="119937"/>
                    <a:pt x="28044" y="108785"/>
                    <a:pt x="28044" y="84922"/>
                  </a:cubicBezTo>
                  <a:cubicBezTo>
                    <a:pt x="28044" y="45295"/>
                    <a:pt x="28044" y="45295"/>
                    <a:pt x="28044" y="45295"/>
                  </a:cubicBezTo>
                  <a:cubicBezTo>
                    <a:pt x="0" y="45295"/>
                    <a:pt x="0" y="45295"/>
                    <a:pt x="0" y="45295"/>
                  </a:cubicBezTo>
                  <a:cubicBezTo>
                    <a:pt x="0" y="27476"/>
                    <a:pt x="0" y="27476"/>
                    <a:pt x="0" y="27476"/>
                  </a:cubicBezTo>
                  <a:cubicBezTo>
                    <a:pt x="28044" y="27476"/>
                    <a:pt x="28044" y="27476"/>
                    <a:pt x="28044" y="27476"/>
                  </a:cubicBezTo>
                  <a:cubicBezTo>
                    <a:pt x="28044" y="0"/>
                    <a:pt x="28044" y="0"/>
                    <a:pt x="28044" y="0"/>
                  </a:cubicBezTo>
                  <a:cubicBezTo>
                    <a:pt x="58378" y="0"/>
                    <a:pt x="58378" y="0"/>
                    <a:pt x="58378" y="0"/>
                  </a:cubicBezTo>
                  <a:cubicBezTo>
                    <a:pt x="58378" y="27476"/>
                    <a:pt x="58378" y="27476"/>
                    <a:pt x="58378" y="27476"/>
                  </a:cubicBezTo>
                  <a:cubicBezTo>
                    <a:pt x="111319" y="27476"/>
                    <a:pt x="111319" y="27476"/>
                    <a:pt x="111319" y="27476"/>
                  </a:cubicBezTo>
                  <a:lnTo>
                    <a:pt x="111319" y="45295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Shape 150"/>
            <p:cNvSpPr/>
            <p:nvPr/>
          </p:nvSpPr>
          <p:spPr>
            <a:xfrm>
              <a:off x="8078788" y="3402012"/>
              <a:ext cx="538161" cy="5492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9" y="117404"/>
                  </a:moveTo>
                  <a:lnTo>
                    <a:pt x="119919" y="117404"/>
                  </a:lnTo>
                  <a:cubicBezTo>
                    <a:pt x="94956" y="117404"/>
                    <a:pt x="94956" y="117404"/>
                    <a:pt x="94956" y="117404"/>
                  </a:cubicBezTo>
                  <a:cubicBezTo>
                    <a:pt x="94956" y="103250"/>
                    <a:pt x="94956" y="103250"/>
                    <a:pt x="94956" y="103250"/>
                  </a:cubicBezTo>
                  <a:cubicBezTo>
                    <a:pt x="86448" y="113551"/>
                    <a:pt x="74648" y="119921"/>
                    <a:pt x="58274" y="119921"/>
                  </a:cubicBezTo>
                  <a:cubicBezTo>
                    <a:pt x="25605" y="119921"/>
                    <a:pt x="0" y="94914"/>
                    <a:pt x="0" y="60314"/>
                  </a:cubicBezTo>
                  <a:cubicBezTo>
                    <a:pt x="0" y="25006"/>
                    <a:pt x="25605" y="0"/>
                    <a:pt x="58274" y="0"/>
                  </a:cubicBezTo>
                  <a:cubicBezTo>
                    <a:pt x="74648" y="0"/>
                    <a:pt x="86448" y="7077"/>
                    <a:pt x="94956" y="16671"/>
                  </a:cubicBezTo>
                  <a:cubicBezTo>
                    <a:pt x="94956" y="3224"/>
                    <a:pt x="94956" y="3224"/>
                    <a:pt x="94956" y="3224"/>
                  </a:cubicBezTo>
                  <a:cubicBezTo>
                    <a:pt x="119919" y="3224"/>
                    <a:pt x="119919" y="3224"/>
                    <a:pt x="119919" y="3224"/>
                  </a:cubicBezTo>
                  <a:lnTo>
                    <a:pt x="119919" y="117404"/>
                  </a:lnTo>
                  <a:close/>
                  <a:moveTo>
                    <a:pt x="26247" y="60314"/>
                  </a:moveTo>
                  <a:lnTo>
                    <a:pt x="26247" y="60314"/>
                  </a:lnTo>
                  <a:cubicBezTo>
                    <a:pt x="26247" y="80209"/>
                    <a:pt x="39331" y="96802"/>
                    <a:pt x="60923" y="96802"/>
                  </a:cubicBezTo>
                  <a:cubicBezTo>
                    <a:pt x="82515" y="96802"/>
                    <a:pt x="96321" y="80917"/>
                    <a:pt x="96321" y="60314"/>
                  </a:cubicBezTo>
                  <a:cubicBezTo>
                    <a:pt x="96321" y="39161"/>
                    <a:pt x="82515" y="23748"/>
                    <a:pt x="60923" y="23748"/>
                  </a:cubicBezTo>
                  <a:cubicBezTo>
                    <a:pt x="39331" y="23748"/>
                    <a:pt x="26247" y="40419"/>
                    <a:pt x="26247" y="6031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Shape 151"/>
            <p:cNvSpPr/>
            <p:nvPr/>
          </p:nvSpPr>
          <p:spPr>
            <a:xfrm>
              <a:off x="8764588" y="3155950"/>
              <a:ext cx="114300" cy="7842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623" y="119944"/>
                  </a:moveTo>
                  <a:lnTo>
                    <a:pt x="0" y="119944"/>
                  </a:lnTo>
                  <a:lnTo>
                    <a:pt x="0" y="0"/>
                  </a:lnTo>
                  <a:lnTo>
                    <a:pt x="119623" y="0"/>
                  </a:lnTo>
                  <a:lnTo>
                    <a:pt x="119623" y="119944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Shape 152"/>
            <p:cNvSpPr/>
            <p:nvPr/>
          </p:nvSpPr>
          <p:spPr>
            <a:xfrm>
              <a:off x="5640387" y="4265612"/>
              <a:ext cx="738187" cy="7635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2620" y="119943"/>
                  </a:moveTo>
                  <a:lnTo>
                    <a:pt x="47320" y="119943"/>
                  </a:lnTo>
                  <a:lnTo>
                    <a:pt x="0" y="0"/>
                  </a:lnTo>
                  <a:lnTo>
                    <a:pt x="21493" y="0"/>
                  </a:lnTo>
                  <a:lnTo>
                    <a:pt x="60204" y="100103"/>
                  </a:lnTo>
                  <a:lnTo>
                    <a:pt x="98916" y="0"/>
                  </a:lnTo>
                  <a:lnTo>
                    <a:pt x="119941" y="0"/>
                  </a:lnTo>
                  <a:lnTo>
                    <a:pt x="72620" y="119943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Shape 153"/>
            <p:cNvSpPr/>
            <p:nvPr/>
          </p:nvSpPr>
          <p:spPr>
            <a:xfrm>
              <a:off x="6362700" y="4494212"/>
              <a:ext cx="506412" cy="546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231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1565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071" y="50322"/>
                    <a:pt x="92071" y="50322"/>
                    <a:pt x="92071" y="50322"/>
                  </a:cubicBezTo>
                  <a:cubicBezTo>
                    <a:pt x="89252" y="32231"/>
                    <a:pt x="78064" y="21882"/>
                    <a:pt x="60640" y="21882"/>
                  </a:cubicBezTo>
                  <a:cubicBezTo>
                    <a:pt x="41850" y="21882"/>
                    <a:pt x="30661" y="33495"/>
                    <a:pt x="27928" y="503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Shape 154"/>
            <p:cNvSpPr/>
            <p:nvPr/>
          </p:nvSpPr>
          <p:spPr>
            <a:xfrm>
              <a:off x="6983413" y="4494212"/>
              <a:ext cx="485775" cy="5349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46110"/>
                  </a:moveTo>
                  <a:lnTo>
                    <a:pt x="119910" y="46110"/>
                  </a:lnTo>
                  <a:cubicBezTo>
                    <a:pt x="119910" y="119919"/>
                    <a:pt x="119910" y="119919"/>
                    <a:pt x="119910" y="119919"/>
                  </a:cubicBezTo>
                  <a:cubicBezTo>
                    <a:pt x="91513" y="119919"/>
                    <a:pt x="91513" y="119919"/>
                    <a:pt x="91513" y="119919"/>
                  </a:cubicBezTo>
                  <a:cubicBezTo>
                    <a:pt x="91513" y="54670"/>
                    <a:pt x="91513" y="54670"/>
                    <a:pt x="91513" y="54670"/>
                  </a:cubicBezTo>
                  <a:cubicBezTo>
                    <a:pt x="91513" y="34966"/>
                    <a:pt x="80652" y="23741"/>
                    <a:pt x="61780" y="23741"/>
                  </a:cubicBezTo>
                  <a:cubicBezTo>
                    <a:pt x="43620" y="23741"/>
                    <a:pt x="28308" y="34966"/>
                    <a:pt x="28308" y="54670"/>
                  </a:cubicBezTo>
                  <a:cubicBezTo>
                    <a:pt x="28308" y="119919"/>
                    <a:pt x="28308" y="119919"/>
                    <a:pt x="28308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27596" y="2664"/>
                    <a:pt x="27596" y="2664"/>
                    <a:pt x="27596" y="2664"/>
                  </a:cubicBezTo>
                  <a:cubicBezTo>
                    <a:pt x="27596" y="17119"/>
                    <a:pt x="27596" y="17119"/>
                    <a:pt x="27596" y="17119"/>
                  </a:cubicBezTo>
                  <a:cubicBezTo>
                    <a:pt x="37833" y="3310"/>
                    <a:pt x="54480" y="0"/>
                    <a:pt x="67566" y="0"/>
                  </a:cubicBezTo>
                  <a:cubicBezTo>
                    <a:pt x="98100" y="0"/>
                    <a:pt x="119910" y="19138"/>
                    <a:pt x="119910" y="46110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Shape 155"/>
            <p:cNvSpPr/>
            <p:nvPr/>
          </p:nvSpPr>
          <p:spPr>
            <a:xfrm>
              <a:off x="7542213" y="4348162"/>
              <a:ext cx="452436" cy="69373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0556" y="45210"/>
                  </a:moveTo>
                  <a:lnTo>
                    <a:pt x="110556" y="45210"/>
                  </a:lnTo>
                  <a:cubicBezTo>
                    <a:pt x="57615" y="45210"/>
                    <a:pt x="57615" y="45210"/>
                    <a:pt x="57615" y="45210"/>
                  </a:cubicBezTo>
                  <a:cubicBezTo>
                    <a:pt x="57615" y="84878"/>
                    <a:pt x="57615" y="84878"/>
                    <a:pt x="57615" y="84878"/>
                  </a:cubicBezTo>
                  <a:cubicBezTo>
                    <a:pt x="57615" y="97083"/>
                    <a:pt x="67726" y="101629"/>
                    <a:pt x="80127" y="101629"/>
                  </a:cubicBezTo>
                  <a:cubicBezTo>
                    <a:pt x="89475" y="101629"/>
                    <a:pt x="99586" y="98578"/>
                    <a:pt x="107408" y="95526"/>
                  </a:cubicBezTo>
                  <a:cubicBezTo>
                    <a:pt x="119904" y="111281"/>
                    <a:pt x="119904" y="111281"/>
                    <a:pt x="119904" y="111281"/>
                  </a:cubicBezTo>
                  <a:cubicBezTo>
                    <a:pt x="108171" y="115889"/>
                    <a:pt x="94149" y="119937"/>
                    <a:pt x="77074" y="119937"/>
                  </a:cubicBezTo>
                  <a:cubicBezTo>
                    <a:pt x="45882" y="119937"/>
                    <a:pt x="27186" y="109289"/>
                    <a:pt x="27186" y="84878"/>
                  </a:cubicBezTo>
                  <a:cubicBezTo>
                    <a:pt x="27186" y="45210"/>
                    <a:pt x="27186" y="45210"/>
                    <a:pt x="27186" y="45210"/>
                  </a:cubicBezTo>
                  <a:cubicBezTo>
                    <a:pt x="0" y="45210"/>
                    <a:pt x="0" y="45210"/>
                    <a:pt x="0" y="45210"/>
                  </a:cubicBezTo>
                  <a:cubicBezTo>
                    <a:pt x="0" y="27462"/>
                    <a:pt x="0" y="27462"/>
                    <a:pt x="0" y="27462"/>
                  </a:cubicBezTo>
                  <a:cubicBezTo>
                    <a:pt x="27186" y="27462"/>
                    <a:pt x="27186" y="27462"/>
                    <a:pt x="27186" y="27462"/>
                  </a:cubicBezTo>
                  <a:cubicBezTo>
                    <a:pt x="27186" y="0"/>
                    <a:pt x="27186" y="0"/>
                    <a:pt x="27186" y="0"/>
                  </a:cubicBezTo>
                  <a:cubicBezTo>
                    <a:pt x="57615" y="0"/>
                    <a:pt x="57615" y="0"/>
                    <a:pt x="57615" y="0"/>
                  </a:cubicBezTo>
                  <a:cubicBezTo>
                    <a:pt x="57615" y="27462"/>
                    <a:pt x="57615" y="27462"/>
                    <a:pt x="57615" y="27462"/>
                  </a:cubicBezTo>
                  <a:cubicBezTo>
                    <a:pt x="110556" y="27462"/>
                    <a:pt x="110556" y="27462"/>
                    <a:pt x="110556" y="27462"/>
                  </a:cubicBezTo>
                  <a:lnTo>
                    <a:pt x="110556" y="45210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Shape 156"/>
            <p:cNvSpPr/>
            <p:nvPr/>
          </p:nvSpPr>
          <p:spPr>
            <a:xfrm>
              <a:off x="8050213" y="4506912"/>
              <a:ext cx="485775" cy="5349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67187"/>
                  </a:moveTo>
                  <a:lnTo>
                    <a:pt x="119910" y="67187"/>
                  </a:lnTo>
                  <a:cubicBezTo>
                    <a:pt x="119910" y="104737"/>
                    <a:pt x="90089" y="119919"/>
                    <a:pt x="59643" y="119919"/>
                  </a:cubicBezTo>
                  <a:cubicBezTo>
                    <a:pt x="29821" y="119919"/>
                    <a:pt x="0" y="104737"/>
                    <a:pt x="0" y="6718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397" y="0"/>
                    <a:pt x="28397" y="0"/>
                    <a:pt x="28397" y="0"/>
                  </a:cubicBezTo>
                  <a:cubicBezTo>
                    <a:pt x="28397" y="65168"/>
                    <a:pt x="28397" y="65168"/>
                    <a:pt x="28397" y="65168"/>
                  </a:cubicBezTo>
                  <a:cubicBezTo>
                    <a:pt x="28397" y="87617"/>
                    <a:pt x="42195" y="96177"/>
                    <a:pt x="59643" y="96177"/>
                  </a:cubicBezTo>
                  <a:cubicBezTo>
                    <a:pt x="77804" y="96177"/>
                    <a:pt x="91602" y="87617"/>
                    <a:pt x="91602" y="65168"/>
                  </a:cubicBezTo>
                  <a:cubicBezTo>
                    <a:pt x="91602" y="0"/>
                    <a:pt x="91602" y="0"/>
                    <a:pt x="91602" y="0"/>
                  </a:cubicBezTo>
                  <a:cubicBezTo>
                    <a:pt x="119910" y="0"/>
                    <a:pt x="119910" y="0"/>
                    <a:pt x="119910" y="0"/>
                  </a:cubicBezTo>
                  <a:lnTo>
                    <a:pt x="119910" y="67187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Shape 157"/>
            <p:cNvSpPr/>
            <p:nvPr/>
          </p:nvSpPr>
          <p:spPr>
            <a:xfrm>
              <a:off x="8675688" y="4494212"/>
              <a:ext cx="349250" cy="5349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76" y="3310"/>
                  </a:moveTo>
                  <a:lnTo>
                    <a:pt x="119876" y="3310"/>
                  </a:lnTo>
                  <a:cubicBezTo>
                    <a:pt x="110740" y="28344"/>
                    <a:pt x="110740" y="28344"/>
                    <a:pt x="110740" y="28344"/>
                  </a:cubicBezTo>
                  <a:cubicBezTo>
                    <a:pt x="102716" y="25679"/>
                    <a:pt x="90617" y="23741"/>
                    <a:pt x="81604" y="23741"/>
                  </a:cubicBezTo>
                  <a:cubicBezTo>
                    <a:pt x="56419" y="23741"/>
                    <a:pt x="38271" y="35612"/>
                    <a:pt x="38271" y="55397"/>
                  </a:cubicBezTo>
                  <a:cubicBezTo>
                    <a:pt x="38271" y="119919"/>
                    <a:pt x="38271" y="119919"/>
                    <a:pt x="38271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38271" y="2664"/>
                    <a:pt x="38271" y="2664"/>
                    <a:pt x="38271" y="2664"/>
                  </a:cubicBezTo>
                  <a:cubicBezTo>
                    <a:pt x="38271" y="15827"/>
                    <a:pt x="38271" y="15827"/>
                    <a:pt x="38271" y="15827"/>
                  </a:cubicBezTo>
                  <a:cubicBezTo>
                    <a:pt x="50370" y="4602"/>
                    <a:pt x="68518" y="0"/>
                    <a:pt x="90617" y="0"/>
                  </a:cubicBezTo>
                  <a:cubicBezTo>
                    <a:pt x="101728" y="0"/>
                    <a:pt x="110740" y="646"/>
                    <a:pt x="119876" y="3310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Shape 158"/>
            <p:cNvSpPr/>
            <p:nvPr/>
          </p:nvSpPr>
          <p:spPr>
            <a:xfrm>
              <a:off x="9063038" y="4494212"/>
              <a:ext cx="506412" cy="546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145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2249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669" y="50322"/>
                    <a:pt x="92669" y="50322"/>
                    <a:pt x="92669" y="50322"/>
                  </a:cubicBezTo>
                  <a:cubicBezTo>
                    <a:pt x="89252" y="32231"/>
                    <a:pt x="78064" y="21882"/>
                    <a:pt x="61323" y="21882"/>
                  </a:cubicBezTo>
                  <a:cubicBezTo>
                    <a:pt x="41850" y="21882"/>
                    <a:pt x="31345" y="33495"/>
                    <a:pt x="27928" y="5032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Shape 159"/>
            <p:cNvSpPr/>
            <p:nvPr/>
          </p:nvSpPr>
          <p:spPr>
            <a:xfrm>
              <a:off x="9636125" y="4494212"/>
              <a:ext cx="461962" cy="546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3819" y="31599"/>
                  </a:moveTo>
                  <a:lnTo>
                    <a:pt x="103819" y="31599"/>
                  </a:lnTo>
                  <a:cubicBezTo>
                    <a:pt x="96243" y="27096"/>
                    <a:pt x="79407" y="21250"/>
                    <a:pt x="62665" y="21250"/>
                  </a:cubicBezTo>
                  <a:cubicBezTo>
                    <a:pt x="45830" y="21250"/>
                    <a:pt x="36664" y="27096"/>
                    <a:pt x="36664" y="35470"/>
                  </a:cubicBezTo>
                  <a:cubicBezTo>
                    <a:pt x="36664" y="43212"/>
                    <a:pt x="46578" y="45740"/>
                    <a:pt x="58830" y="47083"/>
                  </a:cubicBezTo>
                  <a:cubicBezTo>
                    <a:pt x="73328" y="48979"/>
                    <a:pt x="73328" y="48979"/>
                    <a:pt x="73328" y="48979"/>
                  </a:cubicBezTo>
                  <a:cubicBezTo>
                    <a:pt x="102322" y="52218"/>
                    <a:pt x="119906" y="63199"/>
                    <a:pt x="119906" y="82554"/>
                  </a:cubicBezTo>
                  <a:cubicBezTo>
                    <a:pt x="119906" y="104437"/>
                    <a:pt x="97739" y="119921"/>
                    <a:pt x="58830" y="119921"/>
                  </a:cubicBezTo>
                  <a:cubicBezTo>
                    <a:pt x="44333" y="119921"/>
                    <a:pt x="19922" y="117946"/>
                    <a:pt x="0" y="105069"/>
                  </a:cubicBezTo>
                  <a:cubicBezTo>
                    <a:pt x="13749" y="86425"/>
                    <a:pt x="13749" y="86425"/>
                    <a:pt x="13749" y="86425"/>
                  </a:cubicBezTo>
                  <a:cubicBezTo>
                    <a:pt x="23663" y="92824"/>
                    <a:pt x="36664" y="98038"/>
                    <a:pt x="58830" y="98038"/>
                  </a:cubicBezTo>
                  <a:cubicBezTo>
                    <a:pt x="78659" y="98038"/>
                    <a:pt x="89321" y="92824"/>
                    <a:pt x="89321" y="84450"/>
                  </a:cubicBezTo>
                  <a:cubicBezTo>
                    <a:pt x="89321" y="77972"/>
                    <a:pt x="82494" y="73469"/>
                    <a:pt x="66406" y="71573"/>
                  </a:cubicBezTo>
                  <a:cubicBezTo>
                    <a:pt x="51909" y="70309"/>
                    <a:pt x="51909" y="70309"/>
                    <a:pt x="51909" y="70309"/>
                  </a:cubicBezTo>
                  <a:cubicBezTo>
                    <a:pt x="22166" y="66359"/>
                    <a:pt x="6173" y="54825"/>
                    <a:pt x="6173" y="36734"/>
                  </a:cubicBezTo>
                  <a:cubicBezTo>
                    <a:pt x="6173" y="13508"/>
                    <a:pt x="27498" y="0"/>
                    <a:pt x="61917" y="0"/>
                  </a:cubicBezTo>
                  <a:cubicBezTo>
                    <a:pt x="83242" y="0"/>
                    <a:pt x="103070" y="4502"/>
                    <a:pt x="116819" y="11612"/>
                  </a:cubicBezTo>
                  <a:lnTo>
                    <a:pt x="103819" y="31599"/>
                  </a:ln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eneral DV Cover Two"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Shape 161"/>
          <p:cNvSpPr/>
          <p:nvPr/>
        </p:nvSpPr>
        <p:spPr>
          <a:xfrm>
            <a:off x="0" y="0"/>
            <a:ext cx="9144000" cy="4510851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" name="Shape 162"/>
          <p:cNvSpPr/>
          <p:nvPr/>
        </p:nvSpPr>
        <p:spPr>
          <a:xfrm>
            <a:off x="-37" y="4510851"/>
            <a:ext cx="9144036" cy="63264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" name="Shape 163"/>
          <p:cNvSpPr/>
          <p:nvPr/>
        </p:nvSpPr>
        <p:spPr>
          <a:xfrm>
            <a:off x="6224587" y="4710866"/>
            <a:ext cx="2919411" cy="24622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64" name="Shape 164"/>
          <p:cNvGrpSpPr/>
          <p:nvPr/>
        </p:nvGrpSpPr>
        <p:grpSpPr>
          <a:xfrm>
            <a:off x="6043919" y="4510851"/>
            <a:ext cx="1558429" cy="549386"/>
            <a:chOff x="4887627" y="4529180"/>
            <a:chExt cx="1558429" cy="549386"/>
          </a:xfrm>
        </p:grpSpPr>
        <p:cxnSp>
          <p:nvCxnSpPr>
            <p:cNvPr id="165" name="Shape 165"/>
            <p:cNvCxnSpPr/>
            <p:nvPr/>
          </p:nvCxnSpPr>
          <p:spPr>
            <a:xfrm flipH="1">
              <a:off x="5023632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66" name="Shape 166"/>
            <p:cNvCxnSpPr/>
            <p:nvPr/>
          </p:nvCxnSpPr>
          <p:spPr>
            <a:xfrm flipH="1">
              <a:off x="5125233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67" name="Shape 167"/>
            <p:cNvCxnSpPr/>
            <p:nvPr/>
          </p:nvCxnSpPr>
          <p:spPr>
            <a:xfrm flipH="1">
              <a:off x="5226835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68" name="Shape 168"/>
            <p:cNvCxnSpPr/>
            <p:nvPr/>
          </p:nvCxnSpPr>
          <p:spPr>
            <a:xfrm flipH="1">
              <a:off x="5328437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69" name="Shape 169"/>
            <p:cNvCxnSpPr/>
            <p:nvPr/>
          </p:nvCxnSpPr>
          <p:spPr>
            <a:xfrm flipH="1">
              <a:off x="5430039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70" name="Shape 170"/>
            <p:cNvCxnSpPr/>
            <p:nvPr/>
          </p:nvCxnSpPr>
          <p:spPr>
            <a:xfrm flipH="1">
              <a:off x="5531642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71" name="Shape 171"/>
            <p:cNvCxnSpPr/>
            <p:nvPr/>
          </p:nvCxnSpPr>
          <p:spPr>
            <a:xfrm flipH="1">
              <a:off x="5633244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72" name="Shape 172"/>
            <p:cNvCxnSpPr/>
            <p:nvPr/>
          </p:nvCxnSpPr>
          <p:spPr>
            <a:xfrm flipH="1">
              <a:off x="5734846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73" name="Shape 173"/>
            <p:cNvSpPr/>
            <p:nvPr/>
          </p:nvSpPr>
          <p:spPr>
            <a:xfrm rot="2122047">
              <a:off x="5003905" y="4560840"/>
              <a:ext cx="264367" cy="48606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algn="ctr"/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74" name="Shape 174"/>
            <p:cNvCxnSpPr/>
            <p:nvPr/>
          </p:nvCxnSpPr>
          <p:spPr>
            <a:xfrm flipH="1">
              <a:off x="5836448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75" name="Shape 175"/>
            <p:cNvCxnSpPr/>
            <p:nvPr/>
          </p:nvCxnSpPr>
          <p:spPr>
            <a:xfrm flipH="1">
              <a:off x="5938050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76" name="Shape 176"/>
            <p:cNvCxnSpPr/>
            <p:nvPr/>
          </p:nvCxnSpPr>
          <p:spPr>
            <a:xfrm flipH="1">
              <a:off x="6039651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77" name="Shape 177"/>
            <p:cNvCxnSpPr/>
            <p:nvPr/>
          </p:nvCxnSpPr>
          <p:spPr>
            <a:xfrm flipH="1">
              <a:off x="6141257" y="4629573"/>
              <a:ext cx="304799" cy="423333"/>
            </a:xfrm>
            <a:prstGeom prst="straightConnector1">
              <a:avLst/>
            </a:pr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178" name="Shape 178"/>
          <p:cNvSpPr/>
          <p:nvPr/>
        </p:nvSpPr>
        <p:spPr>
          <a:xfrm flipH="1">
            <a:off x="5710040" y="0"/>
            <a:ext cx="3174999" cy="4510850"/>
          </a:xfrm>
          <a:prstGeom prst="rtTriangle">
            <a:avLst/>
          </a:prstGeom>
          <a:solidFill>
            <a:srgbClr val="262C3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" name="Shape 179"/>
          <p:cNvSpPr/>
          <p:nvPr/>
        </p:nvSpPr>
        <p:spPr>
          <a:xfrm>
            <a:off x="8877835" y="0"/>
            <a:ext cx="266165" cy="4510851"/>
          </a:xfrm>
          <a:prstGeom prst="rect">
            <a:avLst/>
          </a:prstGeom>
          <a:solidFill>
            <a:srgbClr val="262C3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80" name="Shape 180"/>
          <p:cNvGrpSpPr/>
          <p:nvPr/>
        </p:nvGrpSpPr>
        <p:grpSpPr>
          <a:xfrm>
            <a:off x="341515" y="4610865"/>
            <a:ext cx="845819" cy="446218"/>
            <a:chOff x="17463" y="1128712"/>
            <a:chExt cx="10080624" cy="5318124"/>
          </a:xfrm>
        </p:grpSpPr>
        <p:sp>
          <p:nvSpPr>
            <p:cNvPr id="181" name="Shape 181"/>
            <p:cNvSpPr/>
            <p:nvPr/>
          </p:nvSpPr>
          <p:spPr>
            <a:xfrm>
              <a:off x="17463" y="1128712"/>
              <a:ext cx="4603749" cy="53181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90" y="18230"/>
                  </a:moveTo>
                  <a:lnTo>
                    <a:pt x="119990" y="18230"/>
                  </a:lnTo>
                  <a:cubicBezTo>
                    <a:pt x="119990" y="17174"/>
                    <a:pt x="118996" y="16239"/>
                    <a:pt x="117766" y="16239"/>
                  </a:cubicBezTo>
                  <a:cubicBezTo>
                    <a:pt x="117156" y="16239"/>
                    <a:pt x="116622" y="16443"/>
                    <a:pt x="116237" y="16776"/>
                  </a:cubicBezTo>
                  <a:lnTo>
                    <a:pt x="116237" y="16776"/>
                  </a:lnTo>
                  <a:cubicBezTo>
                    <a:pt x="108730" y="22471"/>
                    <a:pt x="108730" y="22471"/>
                    <a:pt x="108730" y="22471"/>
                  </a:cubicBezTo>
                  <a:lnTo>
                    <a:pt x="108730" y="22471"/>
                  </a:lnTo>
                  <a:cubicBezTo>
                    <a:pt x="108730" y="22544"/>
                    <a:pt x="108655" y="22609"/>
                    <a:pt x="108580" y="22674"/>
                  </a:cubicBezTo>
                  <a:cubicBezTo>
                    <a:pt x="108196" y="22942"/>
                    <a:pt x="107661" y="23072"/>
                    <a:pt x="107201" y="23072"/>
                  </a:cubicBezTo>
                  <a:cubicBezTo>
                    <a:pt x="106816" y="23072"/>
                    <a:pt x="106432" y="23007"/>
                    <a:pt x="106131" y="22869"/>
                  </a:cubicBezTo>
                  <a:cubicBezTo>
                    <a:pt x="106056" y="22804"/>
                    <a:pt x="105981" y="22804"/>
                    <a:pt x="105981" y="22739"/>
                  </a:cubicBezTo>
                  <a:cubicBezTo>
                    <a:pt x="105672" y="22609"/>
                    <a:pt x="105672" y="22609"/>
                    <a:pt x="105672" y="22609"/>
                  </a:cubicBezTo>
                  <a:cubicBezTo>
                    <a:pt x="61262" y="333"/>
                    <a:pt x="61262" y="333"/>
                    <a:pt x="61262" y="333"/>
                  </a:cubicBezTo>
                  <a:cubicBezTo>
                    <a:pt x="61186" y="268"/>
                    <a:pt x="61186" y="268"/>
                    <a:pt x="61186" y="268"/>
                  </a:cubicBezTo>
                  <a:lnTo>
                    <a:pt x="61186" y="268"/>
                  </a:lnTo>
                  <a:cubicBezTo>
                    <a:pt x="60877" y="129"/>
                    <a:pt x="60492" y="0"/>
                    <a:pt x="60107" y="0"/>
                  </a:cubicBezTo>
                  <a:cubicBezTo>
                    <a:pt x="59648" y="0"/>
                    <a:pt x="59263" y="129"/>
                    <a:pt x="58888" y="333"/>
                  </a:cubicBezTo>
                  <a:cubicBezTo>
                    <a:pt x="58888" y="268"/>
                    <a:pt x="58888" y="268"/>
                    <a:pt x="58888" y="268"/>
                  </a:cubicBezTo>
                  <a:cubicBezTo>
                    <a:pt x="1229" y="29303"/>
                    <a:pt x="1229" y="29303"/>
                    <a:pt x="1229" y="29303"/>
                  </a:cubicBezTo>
                  <a:cubicBezTo>
                    <a:pt x="1144" y="29303"/>
                    <a:pt x="1144" y="29368"/>
                    <a:pt x="1069" y="29368"/>
                  </a:cubicBezTo>
                  <a:cubicBezTo>
                    <a:pt x="459" y="29701"/>
                    <a:pt x="0" y="30367"/>
                    <a:pt x="0" y="31025"/>
                  </a:cubicBezTo>
                  <a:cubicBezTo>
                    <a:pt x="0" y="101688"/>
                    <a:pt x="0" y="101688"/>
                    <a:pt x="0" y="101688"/>
                  </a:cubicBezTo>
                  <a:cubicBezTo>
                    <a:pt x="0" y="102817"/>
                    <a:pt x="994" y="103678"/>
                    <a:pt x="2298" y="103678"/>
                  </a:cubicBezTo>
                  <a:cubicBezTo>
                    <a:pt x="2833" y="103678"/>
                    <a:pt x="3293" y="103483"/>
                    <a:pt x="3753" y="103215"/>
                  </a:cubicBezTo>
                  <a:cubicBezTo>
                    <a:pt x="3828" y="103150"/>
                    <a:pt x="3828" y="103150"/>
                    <a:pt x="3828" y="103150"/>
                  </a:cubicBezTo>
                  <a:cubicBezTo>
                    <a:pt x="11334" y="97382"/>
                    <a:pt x="11334" y="97382"/>
                    <a:pt x="11334" y="97382"/>
                  </a:cubicBezTo>
                  <a:lnTo>
                    <a:pt x="11334" y="97382"/>
                  </a:lnTo>
                  <a:cubicBezTo>
                    <a:pt x="11719" y="97049"/>
                    <a:pt x="12254" y="96854"/>
                    <a:pt x="12864" y="96854"/>
                  </a:cubicBezTo>
                  <a:cubicBezTo>
                    <a:pt x="13248" y="96854"/>
                    <a:pt x="13549" y="96984"/>
                    <a:pt x="13933" y="97114"/>
                  </a:cubicBezTo>
                  <a:cubicBezTo>
                    <a:pt x="13933" y="97114"/>
                    <a:pt x="14008" y="97114"/>
                    <a:pt x="14008" y="97179"/>
                  </a:cubicBezTo>
                  <a:lnTo>
                    <a:pt x="14008" y="97179"/>
                  </a:lnTo>
                  <a:cubicBezTo>
                    <a:pt x="14393" y="97317"/>
                    <a:pt x="14393" y="97317"/>
                    <a:pt x="14393" y="97317"/>
                  </a:cubicBezTo>
                  <a:cubicBezTo>
                    <a:pt x="58888" y="119723"/>
                    <a:pt x="58888" y="119723"/>
                    <a:pt x="58888" y="119723"/>
                  </a:cubicBezTo>
                  <a:cubicBezTo>
                    <a:pt x="59038" y="119788"/>
                    <a:pt x="59038" y="119788"/>
                    <a:pt x="59038" y="119788"/>
                  </a:cubicBezTo>
                  <a:lnTo>
                    <a:pt x="59038" y="119788"/>
                  </a:lnTo>
                  <a:cubicBezTo>
                    <a:pt x="59347" y="119918"/>
                    <a:pt x="59723" y="119991"/>
                    <a:pt x="60107" y="119991"/>
                  </a:cubicBezTo>
                  <a:cubicBezTo>
                    <a:pt x="60417" y="119991"/>
                    <a:pt x="60802" y="119918"/>
                    <a:pt x="61027" y="119853"/>
                  </a:cubicBezTo>
                  <a:cubicBezTo>
                    <a:pt x="61027" y="119853"/>
                    <a:pt x="61102" y="119853"/>
                    <a:pt x="61102" y="119788"/>
                  </a:cubicBezTo>
                  <a:cubicBezTo>
                    <a:pt x="61337" y="119658"/>
                    <a:pt x="61337" y="119658"/>
                    <a:pt x="61337" y="119658"/>
                  </a:cubicBezTo>
                  <a:cubicBezTo>
                    <a:pt x="118686" y="90818"/>
                    <a:pt x="118686" y="90818"/>
                    <a:pt x="118686" y="90818"/>
                  </a:cubicBezTo>
                  <a:cubicBezTo>
                    <a:pt x="119071" y="90688"/>
                    <a:pt x="119071" y="90688"/>
                    <a:pt x="119071" y="90688"/>
                  </a:cubicBezTo>
                  <a:cubicBezTo>
                    <a:pt x="119605" y="90290"/>
                    <a:pt x="119990" y="89689"/>
                    <a:pt x="119990" y="89031"/>
                  </a:cubicBezTo>
                  <a:lnTo>
                    <a:pt x="119990" y="89031"/>
                  </a:lnTo>
                  <a:cubicBezTo>
                    <a:pt x="119990" y="18230"/>
                    <a:pt x="119990" y="18230"/>
                    <a:pt x="119990" y="18230"/>
                  </a:cubicBezTo>
                  <a:close/>
                  <a:moveTo>
                    <a:pt x="105672" y="81865"/>
                  </a:moveTo>
                  <a:lnTo>
                    <a:pt x="105672" y="81865"/>
                  </a:lnTo>
                  <a:cubicBezTo>
                    <a:pt x="105596" y="81865"/>
                    <a:pt x="105596" y="81865"/>
                    <a:pt x="105596" y="81865"/>
                  </a:cubicBezTo>
                  <a:cubicBezTo>
                    <a:pt x="105596" y="82531"/>
                    <a:pt x="105287" y="83125"/>
                    <a:pt x="104677" y="83458"/>
                  </a:cubicBezTo>
                  <a:cubicBezTo>
                    <a:pt x="104517" y="83523"/>
                    <a:pt x="104442" y="83588"/>
                    <a:pt x="104292" y="83661"/>
                  </a:cubicBezTo>
                  <a:cubicBezTo>
                    <a:pt x="61337" y="105271"/>
                    <a:pt x="61337" y="105271"/>
                    <a:pt x="61337" y="105271"/>
                  </a:cubicBezTo>
                  <a:lnTo>
                    <a:pt x="61337" y="105271"/>
                  </a:lnTo>
                  <a:cubicBezTo>
                    <a:pt x="61262" y="105336"/>
                    <a:pt x="61186" y="105336"/>
                    <a:pt x="61027" y="105401"/>
                  </a:cubicBezTo>
                  <a:lnTo>
                    <a:pt x="61027" y="105401"/>
                  </a:lnTo>
                  <a:cubicBezTo>
                    <a:pt x="60717" y="105539"/>
                    <a:pt x="60417" y="105604"/>
                    <a:pt x="60032" y="105604"/>
                  </a:cubicBezTo>
                  <a:cubicBezTo>
                    <a:pt x="59648" y="105604"/>
                    <a:pt x="59263" y="105539"/>
                    <a:pt x="58963" y="105336"/>
                  </a:cubicBezTo>
                  <a:lnTo>
                    <a:pt x="58963" y="105336"/>
                  </a:lnTo>
                  <a:cubicBezTo>
                    <a:pt x="58963" y="105336"/>
                    <a:pt x="58888" y="105336"/>
                    <a:pt x="58888" y="105271"/>
                  </a:cubicBezTo>
                  <a:cubicBezTo>
                    <a:pt x="25418" y="88495"/>
                    <a:pt x="25418" y="88495"/>
                    <a:pt x="25418" y="88495"/>
                  </a:cubicBezTo>
                  <a:cubicBezTo>
                    <a:pt x="25193" y="88365"/>
                    <a:pt x="25193" y="88365"/>
                    <a:pt x="25193" y="88365"/>
                  </a:cubicBezTo>
                  <a:cubicBezTo>
                    <a:pt x="24883" y="88235"/>
                    <a:pt x="24499" y="88170"/>
                    <a:pt x="24198" y="88170"/>
                  </a:cubicBezTo>
                  <a:cubicBezTo>
                    <a:pt x="23589" y="88170"/>
                    <a:pt x="23044" y="88365"/>
                    <a:pt x="22669" y="88698"/>
                  </a:cubicBezTo>
                  <a:lnTo>
                    <a:pt x="22669" y="88698"/>
                  </a:lnTo>
                  <a:cubicBezTo>
                    <a:pt x="18296" y="92012"/>
                    <a:pt x="18296" y="92012"/>
                    <a:pt x="18296" y="92012"/>
                  </a:cubicBezTo>
                  <a:cubicBezTo>
                    <a:pt x="18221" y="92142"/>
                    <a:pt x="18071" y="92207"/>
                    <a:pt x="17996" y="92272"/>
                  </a:cubicBezTo>
                  <a:lnTo>
                    <a:pt x="17996" y="92272"/>
                  </a:lnTo>
                  <a:cubicBezTo>
                    <a:pt x="17612" y="92475"/>
                    <a:pt x="17152" y="92670"/>
                    <a:pt x="16617" y="92670"/>
                  </a:cubicBezTo>
                  <a:cubicBezTo>
                    <a:pt x="15388" y="92670"/>
                    <a:pt x="14393" y="91744"/>
                    <a:pt x="14393" y="90688"/>
                  </a:cubicBezTo>
                  <a:cubicBezTo>
                    <a:pt x="14393" y="38516"/>
                    <a:pt x="14393" y="38516"/>
                    <a:pt x="14393" y="38516"/>
                  </a:cubicBezTo>
                  <a:cubicBezTo>
                    <a:pt x="14393" y="38451"/>
                    <a:pt x="14393" y="38386"/>
                    <a:pt x="14393" y="38321"/>
                  </a:cubicBezTo>
                  <a:cubicBezTo>
                    <a:pt x="14393" y="38182"/>
                    <a:pt x="14393" y="38117"/>
                    <a:pt x="14393" y="38052"/>
                  </a:cubicBezTo>
                  <a:cubicBezTo>
                    <a:pt x="14468" y="37459"/>
                    <a:pt x="14853" y="36923"/>
                    <a:pt x="15388" y="36663"/>
                  </a:cubicBezTo>
                  <a:cubicBezTo>
                    <a:pt x="15463" y="36598"/>
                    <a:pt x="15547" y="36533"/>
                    <a:pt x="15622" y="36533"/>
                  </a:cubicBezTo>
                  <a:cubicBezTo>
                    <a:pt x="58888" y="14785"/>
                    <a:pt x="58888" y="14785"/>
                    <a:pt x="58888" y="14785"/>
                  </a:cubicBezTo>
                  <a:lnTo>
                    <a:pt x="58888" y="14785"/>
                  </a:lnTo>
                  <a:cubicBezTo>
                    <a:pt x="59263" y="14582"/>
                    <a:pt x="59648" y="14452"/>
                    <a:pt x="60107" y="14452"/>
                  </a:cubicBezTo>
                  <a:cubicBezTo>
                    <a:pt x="60492" y="14452"/>
                    <a:pt x="60877" y="14582"/>
                    <a:pt x="61186" y="14720"/>
                  </a:cubicBezTo>
                  <a:lnTo>
                    <a:pt x="61186" y="14720"/>
                  </a:lnTo>
                  <a:cubicBezTo>
                    <a:pt x="94487" y="31488"/>
                    <a:pt x="94487" y="31488"/>
                    <a:pt x="94487" y="31488"/>
                  </a:cubicBezTo>
                  <a:cubicBezTo>
                    <a:pt x="94797" y="31626"/>
                    <a:pt x="94797" y="31626"/>
                    <a:pt x="94797" y="31626"/>
                  </a:cubicBezTo>
                  <a:cubicBezTo>
                    <a:pt x="95106" y="31756"/>
                    <a:pt x="95491" y="31821"/>
                    <a:pt x="95791" y="31821"/>
                  </a:cubicBezTo>
                  <a:cubicBezTo>
                    <a:pt x="96326" y="31821"/>
                    <a:pt x="96786" y="31691"/>
                    <a:pt x="97171" y="31423"/>
                  </a:cubicBezTo>
                  <a:cubicBezTo>
                    <a:pt x="97480" y="31228"/>
                    <a:pt x="97480" y="31228"/>
                    <a:pt x="97480" y="31228"/>
                  </a:cubicBezTo>
                  <a:cubicBezTo>
                    <a:pt x="101843" y="27841"/>
                    <a:pt x="101843" y="27841"/>
                    <a:pt x="101843" y="27841"/>
                  </a:cubicBezTo>
                  <a:lnTo>
                    <a:pt x="101843" y="27841"/>
                  </a:lnTo>
                  <a:cubicBezTo>
                    <a:pt x="102228" y="27516"/>
                    <a:pt x="102763" y="27312"/>
                    <a:pt x="103373" y="27312"/>
                  </a:cubicBezTo>
                  <a:cubicBezTo>
                    <a:pt x="104602" y="27312"/>
                    <a:pt x="105596" y="28109"/>
                    <a:pt x="105672" y="29173"/>
                  </a:cubicBezTo>
                  <a:cubicBezTo>
                    <a:pt x="105672" y="29238"/>
                    <a:pt x="105672" y="29238"/>
                    <a:pt x="105672" y="29303"/>
                  </a:cubicBezTo>
                  <a:lnTo>
                    <a:pt x="105672" y="29368"/>
                  </a:lnTo>
                  <a:cubicBezTo>
                    <a:pt x="105672" y="37061"/>
                    <a:pt x="105672" y="37061"/>
                    <a:pt x="105672" y="37061"/>
                  </a:cubicBezTo>
                  <a:lnTo>
                    <a:pt x="105672" y="81865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Shape 182"/>
            <p:cNvSpPr/>
            <p:nvPr/>
          </p:nvSpPr>
          <p:spPr>
            <a:xfrm>
              <a:off x="5681662" y="2157413"/>
              <a:ext cx="531811" cy="6905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0324" y="0"/>
                  </a:moveTo>
                  <a:lnTo>
                    <a:pt x="60324" y="0"/>
                  </a:lnTo>
                  <a:cubicBezTo>
                    <a:pt x="92801" y="0"/>
                    <a:pt x="116589" y="8692"/>
                    <a:pt x="116589" y="31641"/>
                  </a:cubicBezTo>
                  <a:cubicBezTo>
                    <a:pt x="116589" y="45461"/>
                    <a:pt x="107334" y="54590"/>
                    <a:pt x="93450" y="58155"/>
                  </a:cubicBezTo>
                  <a:cubicBezTo>
                    <a:pt x="108633" y="62282"/>
                    <a:pt x="119918" y="71974"/>
                    <a:pt x="119918" y="86732"/>
                  </a:cubicBezTo>
                  <a:cubicBezTo>
                    <a:pt x="119918" y="110244"/>
                    <a:pt x="97428" y="119937"/>
                    <a:pt x="62922" y="119937"/>
                  </a:cubicBezTo>
                  <a:cubicBezTo>
                    <a:pt x="0" y="119937"/>
                    <a:pt x="0" y="119937"/>
                    <a:pt x="0" y="1199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0324" y="0"/>
                  </a:lnTo>
                  <a:close/>
                  <a:moveTo>
                    <a:pt x="17861" y="12756"/>
                  </a:moveTo>
                  <a:lnTo>
                    <a:pt x="17861" y="12756"/>
                  </a:lnTo>
                  <a:cubicBezTo>
                    <a:pt x="17861" y="52589"/>
                    <a:pt x="17861" y="52589"/>
                    <a:pt x="17861" y="52589"/>
                  </a:cubicBezTo>
                  <a:cubicBezTo>
                    <a:pt x="59594" y="52589"/>
                    <a:pt x="59594" y="52589"/>
                    <a:pt x="59594" y="52589"/>
                  </a:cubicBezTo>
                  <a:cubicBezTo>
                    <a:pt x="81515" y="52589"/>
                    <a:pt x="98078" y="49025"/>
                    <a:pt x="98078" y="32704"/>
                  </a:cubicBezTo>
                  <a:cubicBezTo>
                    <a:pt x="98078" y="16883"/>
                    <a:pt x="80784" y="12756"/>
                    <a:pt x="59594" y="12756"/>
                  </a:cubicBezTo>
                  <a:lnTo>
                    <a:pt x="17861" y="12756"/>
                  </a:lnTo>
                  <a:close/>
                  <a:moveTo>
                    <a:pt x="17861" y="65846"/>
                  </a:moveTo>
                  <a:lnTo>
                    <a:pt x="17861" y="65846"/>
                  </a:lnTo>
                  <a:cubicBezTo>
                    <a:pt x="17861" y="107180"/>
                    <a:pt x="17861" y="107180"/>
                    <a:pt x="17861" y="107180"/>
                  </a:cubicBezTo>
                  <a:cubicBezTo>
                    <a:pt x="62273" y="107180"/>
                    <a:pt x="62273" y="107180"/>
                    <a:pt x="62273" y="107180"/>
                  </a:cubicBezTo>
                  <a:cubicBezTo>
                    <a:pt x="85493" y="107180"/>
                    <a:pt x="101407" y="102615"/>
                    <a:pt x="101407" y="86232"/>
                  </a:cubicBezTo>
                  <a:cubicBezTo>
                    <a:pt x="101407" y="70411"/>
                    <a:pt x="85493" y="65846"/>
                    <a:pt x="62273" y="65846"/>
                  </a:cubicBezTo>
                  <a:lnTo>
                    <a:pt x="17861" y="65846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Shape 183"/>
            <p:cNvSpPr/>
            <p:nvPr/>
          </p:nvSpPr>
          <p:spPr>
            <a:xfrm>
              <a:off x="6313487" y="2147888"/>
              <a:ext cx="641350" cy="711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32" y="23744"/>
                  </a:moveTo>
                  <a:lnTo>
                    <a:pt x="119932" y="23744"/>
                  </a:lnTo>
                  <a:cubicBezTo>
                    <a:pt x="107258" y="31700"/>
                    <a:pt x="107258" y="31700"/>
                    <a:pt x="107258" y="31700"/>
                  </a:cubicBezTo>
                  <a:cubicBezTo>
                    <a:pt x="99033" y="19797"/>
                    <a:pt x="84134" y="12874"/>
                    <a:pt x="67078" y="12874"/>
                  </a:cubicBezTo>
                  <a:cubicBezTo>
                    <a:pt x="37955" y="12874"/>
                    <a:pt x="15910" y="31700"/>
                    <a:pt x="15910" y="59939"/>
                  </a:cubicBezTo>
                  <a:cubicBezTo>
                    <a:pt x="15910" y="87692"/>
                    <a:pt x="37955" y="107004"/>
                    <a:pt x="67078" y="107004"/>
                  </a:cubicBezTo>
                  <a:cubicBezTo>
                    <a:pt x="84134" y="107004"/>
                    <a:pt x="98426" y="100080"/>
                    <a:pt x="107258" y="88178"/>
                  </a:cubicBezTo>
                  <a:cubicBezTo>
                    <a:pt x="119325" y="96133"/>
                    <a:pt x="119325" y="96133"/>
                    <a:pt x="119325" y="96133"/>
                  </a:cubicBezTo>
                  <a:cubicBezTo>
                    <a:pt x="108876" y="111012"/>
                    <a:pt x="89123" y="119939"/>
                    <a:pt x="67078" y="119939"/>
                  </a:cubicBezTo>
                  <a:cubicBezTo>
                    <a:pt x="28584" y="119939"/>
                    <a:pt x="0" y="94676"/>
                    <a:pt x="0" y="59939"/>
                  </a:cubicBezTo>
                  <a:cubicBezTo>
                    <a:pt x="0" y="24777"/>
                    <a:pt x="28584" y="0"/>
                    <a:pt x="67078" y="0"/>
                  </a:cubicBezTo>
                  <a:cubicBezTo>
                    <a:pt x="89662" y="0"/>
                    <a:pt x="109415" y="8927"/>
                    <a:pt x="119932" y="23744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Shape 184"/>
            <p:cNvSpPr/>
            <p:nvPr/>
          </p:nvSpPr>
          <p:spPr>
            <a:xfrm>
              <a:off x="7024688" y="2147888"/>
              <a:ext cx="690561" cy="7112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744" y="19311"/>
                  </a:moveTo>
                  <a:lnTo>
                    <a:pt x="108744" y="19311"/>
                  </a:lnTo>
                  <a:cubicBezTo>
                    <a:pt x="98488" y="28724"/>
                    <a:pt x="98488" y="28724"/>
                    <a:pt x="98488" y="28724"/>
                  </a:cubicBezTo>
                  <a:cubicBezTo>
                    <a:pt x="89859" y="18825"/>
                    <a:pt x="77102" y="12874"/>
                    <a:pt x="62282" y="12874"/>
                  </a:cubicBezTo>
                  <a:cubicBezTo>
                    <a:pt x="35205" y="12874"/>
                    <a:pt x="14820" y="31700"/>
                    <a:pt x="14820" y="59939"/>
                  </a:cubicBezTo>
                  <a:cubicBezTo>
                    <a:pt x="14820" y="87692"/>
                    <a:pt x="35205" y="107004"/>
                    <a:pt x="61782" y="107004"/>
                  </a:cubicBezTo>
                  <a:cubicBezTo>
                    <a:pt x="86795" y="107004"/>
                    <a:pt x="102615" y="92186"/>
                    <a:pt x="104616" y="68380"/>
                  </a:cubicBezTo>
                  <a:cubicBezTo>
                    <a:pt x="67410" y="68380"/>
                    <a:pt x="67410" y="68380"/>
                    <a:pt x="67410" y="68380"/>
                  </a:cubicBezTo>
                  <a:cubicBezTo>
                    <a:pt x="67410" y="55991"/>
                    <a:pt x="67410" y="55991"/>
                    <a:pt x="67410" y="55991"/>
                  </a:cubicBezTo>
                  <a:cubicBezTo>
                    <a:pt x="119437" y="55991"/>
                    <a:pt x="119437" y="55991"/>
                    <a:pt x="119437" y="55991"/>
                  </a:cubicBezTo>
                  <a:cubicBezTo>
                    <a:pt x="119937" y="56963"/>
                    <a:pt x="119937" y="57935"/>
                    <a:pt x="119937" y="59453"/>
                  </a:cubicBezTo>
                  <a:cubicBezTo>
                    <a:pt x="119937" y="93157"/>
                    <a:pt x="97488" y="119939"/>
                    <a:pt x="61782" y="119939"/>
                  </a:cubicBezTo>
                  <a:cubicBezTo>
                    <a:pt x="30140" y="119939"/>
                    <a:pt x="0" y="97591"/>
                    <a:pt x="0" y="59939"/>
                  </a:cubicBezTo>
                  <a:cubicBezTo>
                    <a:pt x="0" y="24777"/>
                    <a:pt x="26576" y="0"/>
                    <a:pt x="62282" y="0"/>
                  </a:cubicBezTo>
                  <a:cubicBezTo>
                    <a:pt x="81167" y="0"/>
                    <a:pt x="97488" y="7408"/>
                    <a:pt x="108744" y="19311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Shape 185"/>
            <p:cNvSpPr/>
            <p:nvPr/>
          </p:nvSpPr>
          <p:spPr>
            <a:xfrm>
              <a:off x="5684837" y="3176588"/>
              <a:ext cx="700086" cy="7635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1940" y="0"/>
                  </a:moveTo>
                  <a:lnTo>
                    <a:pt x="51940" y="0"/>
                  </a:lnTo>
                  <a:cubicBezTo>
                    <a:pt x="92763" y="0"/>
                    <a:pt x="119938" y="23977"/>
                    <a:pt x="119938" y="60000"/>
                  </a:cubicBezTo>
                  <a:cubicBezTo>
                    <a:pt x="119938" y="95966"/>
                    <a:pt x="92763" y="119943"/>
                    <a:pt x="51940" y="119943"/>
                  </a:cubicBezTo>
                  <a:cubicBezTo>
                    <a:pt x="0" y="119943"/>
                    <a:pt x="0" y="119943"/>
                    <a:pt x="0" y="11994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1940" y="0"/>
                  </a:lnTo>
                  <a:close/>
                  <a:moveTo>
                    <a:pt x="21183" y="18435"/>
                  </a:moveTo>
                  <a:lnTo>
                    <a:pt x="21183" y="18435"/>
                  </a:lnTo>
                  <a:cubicBezTo>
                    <a:pt x="21183" y="101451"/>
                    <a:pt x="21183" y="101451"/>
                    <a:pt x="21183" y="101451"/>
                  </a:cubicBezTo>
                  <a:cubicBezTo>
                    <a:pt x="51940" y="101451"/>
                    <a:pt x="51940" y="101451"/>
                    <a:pt x="51940" y="101451"/>
                  </a:cubicBezTo>
                  <a:cubicBezTo>
                    <a:pt x="82635" y="101451"/>
                    <a:pt x="97766" y="83977"/>
                    <a:pt x="97766" y="60000"/>
                  </a:cubicBezTo>
                  <a:cubicBezTo>
                    <a:pt x="97766" y="35513"/>
                    <a:pt x="82635" y="18435"/>
                    <a:pt x="51940" y="18435"/>
                  </a:cubicBezTo>
                  <a:lnTo>
                    <a:pt x="21183" y="18435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Shape 186"/>
            <p:cNvSpPr/>
            <p:nvPr/>
          </p:nvSpPr>
          <p:spPr>
            <a:xfrm>
              <a:off x="6483350" y="3155950"/>
              <a:ext cx="158750" cy="7842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6606" y="24726"/>
                    <a:pt x="0" y="19329"/>
                    <a:pt x="0" y="12556"/>
                  </a:cubicBezTo>
                  <a:cubicBezTo>
                    <a:pt x="0" y="5396"/>
                    <a:pt x="26606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3981" y="119944"/>
                  </a:moveTo>
                  <a:lnTo>
                    <a:pt x="103981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3981" y="39981"/>
                    <a:pt x="103981" y="39981"/>
                    <a:pt x="103981" y="39981"/>
                  </a:cubicBezTo>
                  <a:lnTo>
                    <a:pt x="103981" y="119944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Shape 187"/>
            <p:cNvSpPr/>
            <p:nvPr/>
          </p:nvSpPr>
          <p:spPr>
            <a:xfrm>
              <a:off x="6727825" y="3402012"/>
              <a:ext cx="531812" cy="7635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4100" y="11988"/>
                  </a:moveTo>
                  <a:lnTo>
                    <a:pt x="94100" y="11988"/>
                  </a:lnTo>
                  <a:cubicBezTo>
                    <a:pt x="94100" y="2318"/>
                    <a:pt x="94100" y="2318"/>
                    <a:pt x="94100" y="2318"/>
                  </a:cubicBezTo>
                  <a:cubicBezTo>
                    <a:pt x="119918" y="2318"/>
                    <a:pt x="119918" y="2318"/>
                    <a:pt x="119918" y="2318"/>
                  </a:cubicBezTo>
                  <a:cubicBezTo>
                    <a:pt x="119918" y="78435"/>
                    <a:pt x="119918" y="78435"/>
                    <a:pt x="119918" y="78435"/>
                  </a:cubicBezTo>
                  <a:cubicBezTo>
                    <a:pt x="119918" y="104278"/>
                    <a:pt x="96048" y="119943"/>
                    <a:pt x="56995" y="119943"/>
                  </a:cubicBezTo>
                  <a:cubicBezTo>
                    <a:pt x="39133" y="119943"/>
                    <a:pt x="19891" y="116720"/>
                    <a:pt x="7307" y="110725"/>
                  </a:cubicBezTo>
                  <a:cubicBezTo>
                    <a:pt x="16562" y="95457"/>
                    <a:pt x="16562" y="95457"/>
                    <a:pt x="16562" y="95457"/>
                  </a:cubicBezTo>
                  <a:cubicBezTo>
                    <a:pt x="28497" y="100546"/>
                    <a:pt x="42462" y="103770"/>
                    <a:pt x="56995" y="103770"/>
                  </a:cubicBezTo>
                  <a:cubicBezTo>
                    <a:pt x="80866" y="103770"/>
                    <a:pt x="94100" y="94552"/>
                    <a:pt x="94100" y="79340"/>
                  </a:cubicBezTo>
                  <a:cubicBezTo>
                    <a:pt x="94100" y="72893"/>
                    <a:pt x="94100" y="72893"/>
                    <a:pt x="94100" y="72893"/>
                  </a:cubicBezTo>
                  <a:cubicBezTo>
                    <a:pt x="85493" y="80697"/>
                    <a:pt x="72259" y="84429"/>
                    <a:pt x="55047" y="84429"/>
                  </a:cubicBezTo>
                  <a:cubicBezTo>
                    <a:pt x="27848" y="84429"/>
                    <a:pt x="0" y="68708"/>
                    <a:pt x="0" y="42469"/>
                  </a:cubicBezTo>
                  <a:cubicBezTo>
                    <a:pt x="0" y="15721"/>
                    <a:pt x="27848" y="0"/>
                    <a:pt x="55047" y="0"/>
                  </a:cubicBezTo>
                  <a:cubicBezTo>
                    <a:pt x="72259" y="0"/>
                    <a:pt x="85493" y="4184"/>
                    <a:pt x="94100" y="11988"/>
                  </a:cubicBezTo>
                  <a:close/>
                  <a:moveTo>
                    <a:pt x="26549" y="42469"/>
                  </a:moveTo>
                  <a:lnTo>
                    <a:pt x="26549" y="42469"/>
                  </a:lnTo>
                  <a:cubicBezTo>
                    <a:pt x="26549" y="56324"/>
                    <a:pt x="39783" y="67803"/>
                    <a:pt x="61623" y="67803"/>
                  </a:cubicBezTo>
                  <a:cubicBezTo>
                    <a:pt x="82165" y="67803"/>
                    <a:pt x="96048" y="56776"/>
                    <a:pt x="96048" y="42469"/>
                  </a:cubicBezTo>
                  <a:cubicBezTo>
                    <a:pt x="96048" y="28162"/>
                    <a:pt x="82165" y="17078"/>
                    <a:pt x="61623" y="17078"/>
                  </a:cubicBezTo>
                  <a:cubicBezTo>
                    <a:pt x="39783" y="17078"/>
                    <a:pt x="26549" y="28614"/>
                    <a:pt x="26549" y="42469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Shape 188"/>
            <p:cNvSpPr/>
            <p:nvPr/>
          </p:nvSpPr>
          <p:spPr>
            <a:xfrm>
              <a:off x="7383463" y="3155950"/>
              <a:ext cx="158750" cy="7842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728" y="12556"/>
                  </a:moveTo>
                  <a:lnTo>
                    <a:pt x="119728" y="12556"/>
                  </a:lnTo>
                  <a:cubicBezTo>
                    <a:pt x="119728" y="19329"/>
                    <a:pt x="93122" y="24726"/>
                    <a:pt x="59728" y="24726"/>
                  </a:cubicBezTo>
                  <a:cubicBezTo>
                    <a:pt x="24434" y="24726"/>
                    <a:pt x="0" y="19329"/>
                    <a:pt x="0" y="12556"/>
                  </a:cubicBezTo>
                  <a:cubicBezTo>
                    <a:pt x="0" y="5396"/>
                    <a:pt x="24434" y="0"/>
                    <a:pt x="59728" y="0"/>
                  </a:cubicBezTo>
                  <a:cubicBezTo>
                    <a:pt x="93122" y="0"/>
                    <a:pt x="119728" y="5396"/>
                    <a:pt x="119728" y="12556"/>
                  </a:cubicBezTo>
                  <a:close/>
                  <a:moveTo>
                    <a:pt x="104253" y="119944"/>
                  </a:moveTo>
                  <a:lnTo>
                    <a:pt x="104253" y="119944"/>
                  </a:lnTo>
                  <a:cubicBezTo>
                    <a:pt x="17647" y="119944"/>
                    <a:pt x="17647" y="119944"/>
                    <a:pt x="17647" y="119944"/>
                  </a:cubicBezTo>
                  <a:cubicBezTo>
                    <a:pt x="17647" y="39981"/>
                    <a:pt x="17647" y="39981"/>
                    <a:pt x="17647" y="39981"/>
                  </a:cubicBezTo>
                  <a:cubicBezTo>
                    <a:pt x="104253" y="39981"/>
                    <a:pt x="104253" y="39981"/>
                    <a:pt x="104253" y="39981"/>
                  </a:cubicBezTo>
                  <a:lnTo>
                    <a:pt x="104253" y="119944"/>
                  </a:ln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Shape 189"/>
            <p:cNvSpPr/>
            <p:nvPr/>
          </p:nvSpPr>
          <p:spPr>
            <a:xfrm>
              <a:off x="7600950" y="3259138"/>
              <a:ext cx="452438" cy="69373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319" y="45295"/>
                  </a:moveTo>
                  <a:lnTo>
                    <a:pt x="111319" y="45295"/>
                  </a:lnTo>
                  <a:cubicBezTo>
                    <a:pt x="58378" y="45295"/>
                    <a:pt x="58378" y="45295"/>
                    <a:pt x="58378" y="45295"/>
                  </a:cubicBezTo>
                  <a:cubicBezTo>
                    <a:pt x="58378" y="84423"/>
                    <a:pt x="58378" y="84423"/>
                    <a:pt x="58378" y="84423"/>
                  </a:cubicBezTo>
                  <a:cubicBezTo>
                    <a:pt x="58378" y="96573"/>
                    <a:pt x="67726" y="101619"/>
                    <a:pt x="80222" y="101619"/>
                  </a:cubicBezTo>
                  <a:cubicBezTo>
                    <a:pt x="89475" y="101619"/>
                    <a:pt x="99682" y="98629"/>
                    <a:pt x="108171" y="95576"/>
                  </a:cubicBezTo>
                  <a:cubicBezTo>
                    <a:pt x="119904" y="111339"/>
                    <a:pt x="119904" y="111339"/>
                    <a:pt x="119904" y="111339"/>
                  </a:cubicBezTo>
                  <a:cubicBezTo>
                    <a:pt x="108934" y="115887"/>
                    <a:pt x="95007" y="119937"/>
                    <a:pt x="77837" y="119937"/>
                  </a:cubicBezTo>
                  <a:cubicBezTo>
                    <a:pt x="45882" y="119937"/>
                    <a:pt x="28044" y="108785"/>
                    <a:pt x="28044" y="84922"/>
                  </a:cubicBezTo>
                  <a:cubicBezTo>
                    <a:pt x="28044" y="45295"/>
                    <a:pt x="28044" y="45295"/>
                    <a:pt x="28044" y="45295"/>
                  </a:cubicBezTo>
                  <a:cubicBezTo>
                    <a:pt x="0" y="45295"/>
                    <a:pt x="0" y="45295"/>
                    <a:pt x="0" y="45295"/>
                  </a:cubicBezTo>
                  <a:cubicBezTo>
                    <a:pt x="0" y="27476"/>
                    <a:pt x="0" y="27476"/>
                    <a:pt x="0" y="27476"/>
                  </a:cubicBezTo>
                  <a:cubicBezTo>
                    <a:pt x="28044" y="27476"/>
                    <a:pt x="28044" y="27476"/>
                    <a:pt x="28044" y="27476"/>
                  </a:cubicBezTo>
                  <a:cubicBezTo>
                    <a:pt x="28044" y="0"/>
                    <a:pt x="28044" y="0"/>
                    <a:pt x="28044" y="0"/>
                  </a:cubicBezTo>
                  <a:cubicBezTo>
                    <a:pt x="58378" y="0"/>
                    <a:pt x="58378" y="0"/>
                    <a:pt x="58378" y="0"/>
                  </a:cubicBezTo>
                  <a:cubicBezTo>
                    <a:pt x="58378" y="27476"/>
                    <a:pt x="58378" y="27476"/>
                    <a:pt x="58378" y="27476"/>
                  </a:cubicBezTo>
                  <a:cubicBezTo>
                    <a:pt x="111319" y="27476"/>
                    <a:pt x="111319" y="27476"/>
                    <a:pt x="111319" y="27476"/>
                  </a:cubicBezTo>
                  <a:lnTo>
                    <a:pt x="111319" y="45295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Shape 190"/>
            <p:cNvSpPr/>
            <p:nvPr/>
          </p:nvSpPr>
          <p:spPr>
            <a:xfrm>
              <a:off x="8078788" y="3402012"/>
              <a:ext cx="538161" cy="5492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9" y="117404"/>
                  </a:moveTo>
                  <a:lnTo>
                    <a:pt x="119919" y="117404"/>
                  </a:lnTo>
                  <a:cubicBezTo>
                    <a:pt x="94956" y="117404"/>
                    <a:pt x="94956" y="117404"/>
                    <a:pt x="94956" y="117404"/>
                  </a:cubicBezTo>
                  <a:cubicBezTo>
                    <a:pt x="94956" y="103250"/>
                    <a:pt x="94956" y="103250"/>
                    <a:pt x="94956" y="103250"/>
                  </a:cubicBezTo>
                  <a:cubicBezTo>
                    <a:pt x="86448" y="113551"/>
                    <a:pt x="74648" y="119921"/>
                    <a:pt x="58274" y="119921"/>
                  </a:cubicBezTo>
                  <a:cubicBezTo>
                    <a:pt x="25605" y="119921"/>
                    <a:pt x="0" y="94914"/>
                    <a:pt x="0" y="60314"/>
                  </a:cubicBezTo>
                  <a:cubicBezTo>
                    <a:pt x="0" y="25006"/>
                    <a:pt x="25605" y="0"/>
                    <a:pt x="58274" y="0"/>
                  </a:cubicBezTo>
                  <a:cubicBezTo>
                    <a:pt x="74648" y="0"/>
                    <a:pt x="86448" y="7077"/>
                    <a:pt x="94956" y="16671"/>
                  </a:cubicBezTo>
                  <a:cubicBezTo>
                    <a:pt x="94956" y="3224"/>
                    <a:pt x="94956" y="3224"/>
                    <a:pt x="94956" y="3224"/>
                  </a:cubicBezTo>
                  <a:cubicBezTo>
                    <a:pt x="119919" y="3224"/>
                    <a:pt x="119919" y="3224"/>
                    <a:pt x="119919" y="3224"/>
                  </a:cubicBezTo>
                  <a:lnTo>
                    <a:pt x="119919" y="117404"/>
                  </a:lnTo>
                  <a:close/>
                  <a:moveTo>
                    <a:pt x="26247" y="60314"/>
                  </a:moveTo>
                  <a:lnTo>
                    <a:pt x="26247" y="60314"/>
                  </a:lnTo>
                  <a:cubicBezTo>
                    <a:pt x="26247" y="80209"/>
                    <a:pt x="39331" y="96802"/>
                    <a:pt x="60923" y="96802"/>
                  </a:cubicBezTo>
                  <a:cubicBezTo>
                    <a:pt x="82515" y="96802"/>
                    <a:pt x="96321" y="80917"/>
                    <a:pt x="96321" y="60314"/>
                  </a:cubicBezTo>
                  <a:cubicBezTo>
                    <a:pt x="96321" y="39161"/>
                    <a:pt x="82515" y="23748"/>
                    <a:pt x="60923" y="23748"/>
                  </a:cubicBezTo>
                  <a:cubicBezTo>
                    <a:pt x="39331" y="23748"/>
                    <a:pt x="26247" y="40419"/>
                    <a:pt x="26247" y="60314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Shape 191"/>
            <p:cNvSpPr/>
            <p:nvPr/>
          </p:nvSpPr>
          <p:spPr>
            <a:xfrm>
              <a:off x="8764588" y="3155950"/>
              <a:ext cx="114300" cy="7842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623" y="119944"/>
                  </a:moveTo>
                  <a:lnTo>
                    <a:pt x="0" y="119944"/>
                  </a:lnTo>
                  <a:lnTo>
                    <a:pt x="0" y="0"/>
                  </a:lnTo>
                  <a:lnTo>
                    <a:pt x="119623" y="0"/>
                  </a:lnTo>
                  <a:lnTo>
                    <a:pt x="119623" y="119944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Shape 192"/>
            <p:cNvSpPr/>
            <p:nvPr/>
          </p:nvSpPr>
          <p:spPr>
            <a:xfrm>
              <a:off x="5640387" y="4265612"/>
              <a:ext cx="738187" cy="7635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2620" y="119943"/>
                  </a:moveTo>
                  <a:lnTo>
                    <a:pt x="47320" y="119943"/>
                  </a:lnTo>
                  <a:lnTo>
                    <a:pt x="0" y="0"/>
                  </a:lnTo>
                  <a:lnTo>
                    <a:pt x="21493" y="0"/>
                  </a:lnTo>
                  <a:lnTo>
                    <a:pt x="60204" y="100103"/>
                  </a:lnTo>
                  <a:lnTo>
                    <a:pt x="98916" y="0"/>
                  </a:lnTo>
                  <a:lnTo>
                    <a:pt x="119941" y="0"/>
                  </a:lnTo>
                  <a:lnTo>
                    <a:pt x="72620" y="119943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Shape 193"/>
            <p:cNvSpPr/>
            <p:nvPr/>
          </p:nvSpPr>
          <p:spPr>
            <a:xfrm>
              <a:off x="6362700" y="4494212"/>
              <a:ext cx="506412" cy="546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231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1565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071" y="50322"/>
                    <a:pt x="92071" y="50322"/>
                    <a:pt x="92071" y="50322"/>
                  </a:cubicBezTo>
                  <a:cubicBezTo>
                    <a:pt x="89252" y="32231"/>
                    <a:pt x="78064" y="21882"/>
                    <a:pt x="60640" y="21882"/>
                  </a:cubicBezTo>
                  <a:cubicBezTo>
                    <a:pt x="41850" y="21882"/>
                    <a:pt x="30661" y="33495"/>
                    <a:pt x="27928" y="50322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Shape 194"/>
            <p:cNvSpPr/>
            <p:nvPr/>
          </p:nvSpPr>
          <p:spPr>
            <a:xfrm>
              <a:off x="6983413" y="4494212"/>
              <a:ext cx="485775" cy="5349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46110"/>
                  </a:moveTo>
                  <a:lnTo>
                    <a:pt x="119910" y="46110"/>
                  </a:lnTo>
                  <a:cubicBezTo>
                    <a:pt x="119910" y="119919"/>
                    <a:pt x="119910" y="119919"/>
                    <a:pt x="119910" y="119919"/>
                  </a:cubicBezTo>
                  <a:cubicBezTo>
                    <a:pt x="91513" y="119919"/>
                    <a:pt x="91513" y="119919"/>
                    <a:pt x="91513" y="119919"/>
                  </a:cubicBezTo>
                  <a:cubicBezTo>
                    <a:pt x="91513" y="54670"/>
                    <a:pt x="91513" y="54670"/>
                    <a:pt x="91513" y="54670"/>
                  </a:cubicBezTo>
                  <a:cubicBezTo>
                    <a:pt x="91513" y="34966"/>
                    <a:pt x="80652" y="23741"/>
                    <a:pt x="61780" y="23741"/>
                  </a:cubicBezTo>
                  <a:cubicBezTo>
                    <a:pt x="43620" y="23741"/>
                    <a:pt x="28308" y="34966"/>
                    <a:pt x="28308" y="54670"/>
                  </a:cubicBezTo>
                  <a:cubicBezTo>
                    <a:pt x="28308" y="119919"/>
                    <a:pt x="28308" y="119919"/>
                    <a:pt x="28308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27596" y="2664"/>
                    <a:pt x="27596" y="2664"/>
                    <a:pt x="27596" y="2664"/>
                  </a:cubicBezTo>
                  <a:cubicBezTo>
                    <a:pt x="27596" y="17119"/>
                    <a:pt x="27596" y="17119"/>
                    <a:pt x="27596" y="17119"/>
                  </a:cubicBezTo>
                  <a:cubicBezTo>
                    <a:pt x="37833" y="3310"/>
                    <a:pt x="54480" y="0"/>
                    <a:pt x="67566" y="0"/>
                  </a:cubicBezTo>
                  <a:cubicBezTo>
                    <a:pt x="98100" y="0"/>
                    <a:pt x="119910" y="19138"/>
                    <a:pt x="119910" y="46110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Shape 195"/>
            <p:cNvSpPr/>
            <p:nvPr/>
          </p:nvSpPr>
          <p:spPr>
            <a:xfrm>
              <a:off x="7542213" y="4348162"/>
              <a:ext cx="452436" cy="69373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0556" y="45210"/>
                  </a:moveTo>
                  <a:lnTo>
                    <a:pt x="110556" y="45210"/>
                  </a:lnTo>
                  <a:cubicBezTo>
                    <a:pt x="57615" y="45210"/>
                    <a:pt x="57615" y="45210"/>
                    <a:pt x="57615" y="45210"/>
                  </a:cubicBezTo>
                  <a:cubicBezTo>
                    <a:pt x="57615" y="84878"/>
                    <a:pt x="57615" y="84878"/>
                    <a:pt x="57615" y="84878"/>
                  </a:cubicBezTo>
                  <a:cubicBezTo>
                    <a:pt x="57615" y="97083"/>
                    <a:pt x="67726" y="101629"/>
                    <a:pt x="80127" y="101629"/>
                  </a:cubicBezTo>
                  <a:cubicBezTo>
                    <a:pt x="89475" y="101629"/>
                    <a:pt x="99586" y="98578"/>
                    <a:pt x="107408" y="95526"/>
                  </a:cubicBezTo>
                  <a:cubicBezTo>
                    <a:pt x="119904" y="111281"/>
                    <a:pt x="119904" y="111281"/>
                    <a:pt x="119904" y="111281"/>
                  </a:cubicBezTo>
                  <a:cubicBezTo>
                    <a:pt x="108171" y="115889"/>
                    <a:pt x="94149" y="119937"/>
                    <a:pt x="77074" y="119937"/>
                  </a:cubicBezTo>
                  <a:cubicBezTo>
                    <a:pt x="45882" y="119937"/>
                    <a:pt x="27186" y="109289"/>
                    <a:pt x="27186" y="84878"/>
                  </a:cubicBezTo>
                  <a:cubicBezTo>
                    <a:pt x="27186" y="45210"/>
                    <a:pt x="27186" y="45210"/>
                    <a:pt x="27186" y="45210"/>
                  </a:cubicBezTo>
                  <a:cubicBezTo>
                    <a:pt x="0" y="45210"/>
                    <a:pt x="0" y="45210"/>
                    <a:pt x="0" y="45210"/>
                  </a:cubicBezTo>
                  <a:cubicBezTo>
                    <a:pt x="0" y="27462"/>
                    <a:pt x="0" y="27462"/>
                    <a:pt x="0" y="27462"/>
                  </a:cubicBezTo>
                  <a:cubicBezTo>
                    <a:pt x="27186" y="27462"/>
                    <a:pt x="27186" y="27462"/>
                    <a:pt x="27186" y="27462"/>
                  </a:cubicBezTo>
                  <a:cubicBezTo>
                    <a:pt x="27186" y="0"/>
                    <a:pt x="27186" y="0"/>
                    <a:pt x="27186" y="0"/>
                  </a:cubicBezTo>
                  <a:cubicBezTo>
                    <a:pt x="57615" y="0"/>
                    <a:pt x="57615" y="0"/>
                    <a:pt x="57615" y="0"/>
                  </a:cubicBezTo>
                  <a:cubicBezTo>
                    <a:pt x="57615" y="27462"/>
                    <a:pt x="57615" y="27462"/>
                    <a:pt x="57615" y="27462"/>
                  </a:cubicBezTo>
                  <a:cubicBezTo>
                    <a:pt x="110556" y="27462"/>
                    <a:pt x="110556" y="27462"/>
                    <a:pt x="110556" y="27462"/>
                  </a:cubicBezTo>
                  <a:lnTo>
                    <a:pt x="110556" y="45210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Shape 196"/>
            <p:cNvSpPr/>
            <p:nvPr/>
          </p:nvSpPr>
          <p:spPr>
            <a:xfrm>
              <a:off x="8050213" y="4506912"/>
              <a:ext cx="485775" cy="5349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0" y="67187"/>
                  </a:moveTo>
                  <a:lnTo>
                    <a:pt x="119910" y="67187"/>
                  </a:lnTo>
                  <a:cubicBezTo>
                    <a:pt x="119910" y="104737"/>
                    <a:pt x="90089" y="119919"/>
                    <a:pt x="59643" y="119919"/>
                  </a:cubicBezTo>
                  <a:cubicBezTo>
                    <a:pt x="29821" y="119919"/>
                    <a:pt x="0" y="104737"/>
                    <a:pt x="0" y="6718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397" y="0"/>
                    <a:pt x="28397" y="0"/>
                    <a:pt x="28397" y="0"/>
                  </a:cubicBezTo>
                  <a:cubicBezTo>
                    <a:pt x="28397" y="65168"/>
                    <a:pt x="28397" y="65168"/>
                    <a:pt x="28397" y="65168"/>
                  </a:cubicBezTo>
                  <a:cubicBezTo>
                    <a:pt x="28397" y="87617"/>
                    <a:pt x="42195" y="96177"/>
                    <a:pt x="59643" y="96177"/>
                  </a:cubicBezTo>
                  <a:cubicBezTo>
                    <a:pt x="77804" y="96177"/>
                    <a:pt x="91602" y="87617"/>
                    <a:pt x="91602" y="65168"/>
                  </a:cubicBezTo>
                  <a:cubicBezTo>
                    <a:pt x="91602" y="0"/>
                    <a:pt x="91602" y="0"/>
                    <a:pt x="91602" y="0"/>
                  </a:cubicBezTo>
                  <a:cubicBezTo>
                    <a:pt x="119910" y="0"/>
                    <a:pt x="119910" y="0"/>
                    <a:pt x="119910" y="0"/>
                  </a:cubicBezTo>
                  <a:lnTo>
                    <a:pt x="119910" y="67187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Shape 197"/>
            <p:cNvSpPr/>
            <p:nvPr/>
          </p:nvSpPr>
          <p:spPr>
            <a:xfrm>
              <a:off x="8675688" y="4494212"/>
              <a:ext cx="349250" cy="53498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76" y="3310"/>
                  </a:moveTo>
                  <a:lnTo>
                    <a:pt x="119876" y="3310"/>
                  </a:lnTo>
                  <a:cubicBezTo>
                    <a:pt x="110740" y="28344"/>
                    <a:pt x="110740" y="28344"/>
                    <a:pt x="110740" y="28344"/>
                  </a:cubicBezTo>
                  <a:cubicBezTo>
                    <a:pt x="102716" y="25679"/>
                    <a:pt x="90617" y="23741"/>
                    <a:pt x="81604" y="23741"/>
                  </a:cubicBezTo>
                  <a:cubicBezTo>
                    <a:pt x="56419" y="23741"/>
                    <a:pt x="38271" y="35612"/>
                    <a:pt x="38271" y="55397"/>
                  </a:cubicBezTo>
                  <a:cubicBezTo>
                    <a:pt x="38271" y="119919"/>
                    <a:pt x="38271" y="119919"/>
                    <a:pt x="38271" y="119919"/>
                  </a:cubicBezTo>
                  <a:cubicBezTo>
                    <a:pt x="0" y="119919"/>
                    <a:pt x="0" y="119919"/>
                    <a:pt x="0" y="119919"/>
                  </a:cubicBezTo>
                  <a:cubicBezTo>
                    <a:pt x="0" y="2664"/>
                    <a:pt x="0" y="2664"/>
                    <a:pt x="0" y="2664"/>
                  </a:cubicBezTo>
                  <a:cubicBezTo>
                    <a:pt x="38271" y="2664"/>
                    <a:pt x="38271" y="2664"/>
                    <a:pt x="38271" y="2664"/>
                  </a:cubicBezTo>
                  <a:cubicBezTo>
                    <a:pt x="38271" y="15827"/>
                    <a:pt x="38271" y="15827"/>
                    <a:pt x="38271" y="15827"/>
                  </a:cubicBezTo>
                  <a:cubicBezTo>
                    <a:pt x="50370" y="4602"/>
                    <a:pt x="68518" y="0"/>
                    <a:pt x="90617" y="0"/>
                  </a:cubicBezTo>
                  <a:cubicBezTo>
                    <a:pt x="101728" y="0"/>
                    <a:pt x="110740" y="646"/>
                    <a:pt x="119876" y="3310"/>
                  </a:cubicBez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Shape 198"/>
            <p:cNvSpPr/>
            <p:nvPr/>
          </p:nvSpPr>
          <p:spPr>
            <a:xfrm>
              <a:off x="9063038" y="4494212"/>
              <a:ext cx="506412" cy="546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14" y="59960"/>
                  </a:moveTo>
                  <a:lnTo>
                    <a:pt x="119914" y="59960"/>
                  </a:lnTo>
                  <a:cubicBezTo>
                    <a:pt x="119914" y="63199"/>
                    <a:pt x="119914" y="66359"/>
                    <a:pt x="119145" y="68966"/>
                  </a:cubicBezTo>
                  <a:cubicBezTo>
                    <a:pt x="27928" y="68966"/>
                    <a:pt x="27928" y="68966"/>
                    <a:pt x="27928" y="68966"/>
                  </a:cubicBezTo>
                  <a:cubicBezTo>
                    <a:pt x="31345" y="89585"/>
                    <a:pt x="47402" y="98038"/>
                    <a:pt x="64825" y="98038"/>
                  </a:cubicBezTo>
                  <a:cubicBezTo>
                    <a:pt x="77380" y="98038"/>
                    <a:pt x="90619" y="93456"/>
                    <a:pt x="100355" y="86425"/>
                  </a:cubicBezTo>
                  <a:cubicBezTo>
                    <a:pt x="114362" y="103805"/>
                    <a:pt x="114362" y="103805"/>
                    <a:pt x="114362" y="103805"/>
                  </a:cubicBezTo>
                  <a:cubicBezTo>
                    <a:pt x="98989" y="116050"/>
                    <a:pt x="82249" y="119921"/>
                    <a:pt x="63459" y="119921"/>
                  </a:cubicBezTo>
                  <a:cubicBezTo>
                    <a:pt x="25793" y="119921"/>
                    <a:pt x="0" y="96063"/>
                    <a:pt x="0" y="59960"/>
                  </a:cubicBezTo>
                  <a:cubicBezTo>
                    <a:pt x="0" y="23857"/>
                    <a:pt x="25110" y="0"/>
                    <a:pt x="61323" y="0"/>
                  </a:cubicBezTo>
                  <a:cubicBezTo>
                    <a:pt x="96170" y="0"/>
                    <a:pt x="119914" y="23857"/>
                    <a:pt x="119914" y="59960"/>
                  </a:cubicBezTo>
                  <a:close/>
                  <a:moveTo>
                    <a:pt x="27928" y="50322"/>
                  </a:moveTo>
                  <a:lnTo>
                    <a:pt x="27928" y="50322"/>
                  </a:lnTo>
                  <a:cubicBezTo>
                    <a:pt x="92669" y="50322"/>
                    <a:pt x="92669" y="50322"/>
                    <a:pt x="92669" y="50322"/>
                  </a:cubicBezTo>
                  <a:cubicBezTo>
                    <a:pt x="89252" y="32231"/>
                    <a:pt x="78064" y="21882"/>
                    <a:pt x="61323" y="21882"/>
                  </a:cubicBezTo>
                  <a:cubicBezTo>
                    <a:pt x="41850" y="21882"/>
                    <a:pt x="31345" y="33495"/>
                    <a:pt x="27928" y="50322"/>
                  </a:cubicBezTo>
                  <a:close/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Shape 199"/>
            <p:cNvSpPr/>
            <p:nvPr/>
          </p:nvSpPr>
          <p:spPr>
            <a:xfrm>
              <a:off x="9636125" y="4494212"/>
              <a:ext cx="461962" cy="546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3819" y="31599"/>
                  </a:moveTo>
                  <a:lnTo>
                    <a:pt x="103819" y="31599"/>
                  </a:lnTo>
                  <a:cubicBezTo>
                    <a:pt x="96243" y="27096"/>
                    <a:pt x="79407" y="21250"/>
                    <a:pt x="62665" y="21250"/>
                  </a:cubicBezTo>
                  <a:cubicBezTo>
                    <a:pt x="45830" y="21250"/>
                    <a:pt x="36664" y="27096"/>
                    <a:pt x="36664" y="35470"/>
                  </a:cubicBezTo>
                  <a:cubicBezTo>
                    <a:pt x="36664" y="43212"/>
                    <a:pt x="46578" y="45740"/>
                    <a:pt x="58830" y="47083"/>
                  </a:cubicBezTo>
                  <a:cubicBezTo>
                    <a:pt x="73328" y="48979"/>
                    <a:pt x="73328" y="48979"/>
                    <a:pt x="73328" y="48979"/>
                  </a:cubicBezTo>
                  <a:cubicBezTo>
                    <a:pt x="102322" y="52218"/>
                    <a:pt x="119906" y="63199"/>
                    <a:pt x="119906" y="82554"/>
                  </a:cubicBezTo>
                  <a:cubicBezTo>
                    <a:pt x="119906" y="104437"/>
                    <a:pt x="97739" y="119921"/>
                    <a:pt x="58830" y="119921"/>
                  </a:cubicBezTo>
                  <a:cubicBezTo>
                    <a:pt x="44333" y="119921"/>
                    <a:pt x="19922" y="117946"/>
                    <a:pt x="0" y="105069"/>
                  </a:cubicBezTo>
                  <a:cubicBezTo>
                    <a:pt x="13749" y="86425"/>
                    <a:pt x="13749" y="86425"/>
                    <a:pt x="13749" y="86425"/>
                  </a:cubicBezTo>
                  <a:cubicBezTo>
                    <a:pt x="23663" y="92824"/>
                    <a:pt x="36664" y="98038"/>
                    <a:pt x="58830" y="98038"/>
                  </a:cubicBezTo>
                  <a:cubicBezTo>
                    <a:pt x="78659" y="98038"/>
                    <a:pt x="89321" y="92824"/>
                    <a:pt x="89321" y="84450"/>
                  </a:cubicBezTo>
                  <a:cubicBezTo>
                    <a:pt x="89321" y="77972"/>
                    <a:pt x="82494" y="73469"/>
                    <a:pt x="66406" y="71573"/>
                  </a:cubicBezTo>
                  <a:cubicBezTo>
                    <a:pt x="51909" y="70309"/>
                    <a:pt x="51909" y="70309"/>
                    <a:pt x="51909" y="70309"/>
                  </a:cubicBezTo>
                  <a:cubicBezTo>
                    <a:pt x="22166" y="66359"/>
                    <a:pt x="6173" y="54825"/>
                    <a:pt x="6173" y="36734"/>
                  </a:cubicBezTo>
                  <a:cubicBezTo>
                    <a:pt x="6173" y="13508"/>
                    <a:pt x="27498" y="0"/>
                    <a:pt x="61917" y="0"/>
                  </a:cubicBezTo>
                  <a:cubicBezTo>
                    <a:pt x="83242" y="0"/>
                    <a:pt x="103070" y="4502"/>
                    <a:pt x="116819" y="11612"/>
                  </a:cubicBezTo>
                  <a:lnTo>
                    <a:pt x="103819" y="31599"/>
                  </a:lnTo>
                </a:path>
              </a:pathLst>
            </a:custGeom>
            <a:solidFill>
              <a:srgbClr val="2B3A42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4 Column Blank Panel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1" name="Shape 201"/>
          <p:cNvPicPr preferRelativeResize="0"/>
          <p:nvPr/>
        </p:nvPicPr>
        <p:blipFill rotWithShape="1">
          <a:blip r:embed="rId2">
            <a:alphaModFix/>
          </a:blip>
          <a:srcRect t="1" b="11938"/>
          <a:stretch/>
        </p:blipFill>
        <p:spPr>
          <a:xfrm>
            <a:off x="0" y="0"/>
            <a:ext cx="8815388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202" name="Shape 202"/>
          <p:cNvSpPr/>
          <p:nvPr/>
        </p:nvSpPr>
        <p:spPr>
          <a:xfrm>
            <a:off x="8815388" y="0"/>
            <a:ext cx="328611" cy="514349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" name="Shape 204"/>
          <p:cNvSpPr/>
          <p:nvPr/>
        </p:nvSpPr>
        <p:spPr>
          <a:xfrm>
            <a:off x="8815388" y="0"/>
            <a:ext cx="328611" cy="346074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" name="Shape 205"/>
          <p:cNvSpPr/>
          <p:nvPr/>
        </p:nvSpPr>
        <p:spPr>
          <a:xfrm>
            <a:off x="8883267" y="61716"/>
            <a:ext cx="192855" cy="22264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endParaRPr sz="18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Shape 206"/>
          <p:cNvSpPr/>
          <p:nvPr/>
        </p:nvSpPr>
        <p:spPr>
          <a:xfrm>
            <a:off x="-1870" y="0"/>
            <a:ext cx="8817257" cy="5143499"/>
          </a:xfrm>
          <a:prstGeom prst="rect">
            <a:avLst/>
          </a:prstGeom>
          <a:gradFill>
            <a:gsLst>
              <a:gs pos="0">
                <a:srgbClr val="004CA8">
                  <a:alpha val="53725"/>
                </a:srgbClr>
              </a:gs>
              <a:gs pos="48000">
                <a:srgbClr val="318DFE">
                  <a:alpha val="55686"/>
                </a:srgbClr>
              </a:gs>
              <a:gs pos="100000">
                <a:srgbClr val="81EFF5">
                  <a:alpha val="53725"/>
                </a:srgbClr>
              </a:gs>
            </a:gsLst>
            <a:lin ang="10800000" scaled="0"/>
          </a:gra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15388" y="4889576"/>
            <a:ext cx="3286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D16C2F2B-0723-BB43-9DA2-5D4762DF6B6B}" type="slidenum">
              <a:rPr lang="en-US" sz="700" b="1" smtClean="0">
                <a:latin typeface="Century Gothic" charset="0"/>
                <a:ea typeface="Century Gothic" charset="0"/>
                <a:cs typeface="Century Gothic" charset="0"/>
              </a:rPr>
              <a:pPr algn="ctr"/>
              <a:t>‹#›</a:t>
            </a:fld>
            <a:endParaRPr lang="en-US" sz="7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4 Column Blank Panel"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Shape 266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7" name="Shape 267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68" name="Shape 268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Shape 269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70" name="Shape 270" descr="Screen Shot 2016-02-29 at 3.42.53 PM.png"/>
          <p:cNvPicPr preferRelativeResize="0"/>
          <p:nvPr/>
        </p:nvPicPr>
        <p:blipFill rotWithShape="1">
          <a:blip r:embed="rId2">
            <a:alphaModFix/>
          </a:blip>
          <a:srcRect l="2350" r="2083" b="546"/>
          <a:stretch/>
        </p:blipFill>
        <p:spPr>
          <a:xfrm>
            <a:off x="-34" y="0"/>
            <a:ext cx="88158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71" name="Shape 271"/>
          <p:cNvSpPr txBox="1">
            <a:spLocks noGrp="1"/>
          </p:cNvSpPr>
          <p:nvPr>
            <p:ph type="title"/>
          </p:nvPr>
        </p:nvSpPr>
        <p:spPr>
          <a:xfrm>
            <a:off x="328141" y="1359125"/>
            <a:ext cx="8136300" cy="2461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Clr>
                <a:schemeClr val="accent1"/>
              </a:buClr>
              <a:buFont typeface="Century Gothic"/>
              <a:buNone/>
              <a:defRPr sz="2400" b="1" i="0" u="none" strike="noStrike" cap="none">
                <a:solidFill>
                  <a:schemeClr val="accen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4 Column Blank Panel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Shape 208"/>
          <p:cNvSpPr/>
          <p:nvPr/>
        </p:nvSpPr>
        <p:spPr>
          <a:xfrm>
            <a:off x="8815388" y="0"/>
            <a:ext cx="328611" cy="5143499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" name="Shape 210"/>
          <p:cNvSpPr/>
          <p:nvPr/>
        </p:nvSpPr>
        <p:spPr>
          <a:xfrm>
            <a:off x="8815388" y="0"/>
            <a:ext cx="328611" cy="346074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1" name="Shape 211"/>
          <p:cNvSpPr/>
          <p:nvPr/>
        </p:nvSpPr>
        <p:spPr>
          <a:xfrm>
            <a:off x="8883267" y="61716"/>
            <a:ext cx="192855" cy="22264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endParaRPr sz="180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2" name="Shape 212"/>
          <p:cNvPicPr preferRelativeResize="0"/>
          <p:nvPr/>
        </p:nvPicPr>
        <p:blipFill rotWithShape="1">
          <a:blip r:embed="rId2">
            <a:alphaModFix/>
          </a:blip>
          <a:srcRect t="11862"/>
          <a:stretch/>
        </p:blipFill>
        <p:spPr>
          <a:xfrm>
            <a:off x="0" y="0"/>
            <a:ext cx="8815388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213" name="Shape 213"/>
          <p:cNvSpPr/>
          <p:nvPr/>
        </p:nvSpPr>
        <p:spPr>
          <a:xfrm>
            <a:off x="0" y="0"/>
            <a:ext cx="8815388" cy="5143499"/>
          </a:xfrm>
          <a:prstGeom prst="rect">
            <a:avLst/>
          </a:prstGeom>
          <a:gradFill>
            <a:gsLst>
              <a:gs pos="0">
                <a:srgbClr val="004CA8">
                  <a:alpha val="53725"/>
                </a:srgbClr>
              </a:gs>
              <a:gs pos="48000">
                <a:srgbClr val="318DFE">
                  <a:alpha val="55686"/>
                </a:srgbClr>
              </a:gs>
              <a:gs pos="100000">
                <a:srgbClr val="81EFF5">
                  <a:alpha val="53725"/>
                </a:srgbClr>
              </a:gs>
            </a:gsLst>
            <a:lin ang="5400000" scaled="0"/>
          </a:gra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15388" y="4889576"/>
            <a:ext cx="3286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83BDA305-603E-FF44-B890-36650FBA7464}" type="slidenum">
              <a:rPr lang="en-US" sz="700" b="1" smtClean="0">
                <a:latin typeface="Century Gothic" charset="0"/>
                <a:ea typeface="Century Gothic" charset="0"/>
                <a:cs typeface="Century Gothic" charset="0"/>
              </a:rPr>
              <a:pPr algn="ctr"/>
              <a:t>‹#›</a:t>
            </a:fld>
            <a:endParaRPr lang="en-US" sz="7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Shape 267"/>
          <p:cNvSpPr txBox="1">
            <a:spLocks noGrp="1"/>
          </p:cNvSpPr>
          <p:nvPr>
            <p:ph type="body" idx="1"/>
          </p:nvPr>
        </p:nvSpPr>
        <p:spPr>
          <a:xfrm>
            <a:off x="328140" y="1132816"/>
            <a:ext cx="8136300" cy="3701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 typeface="Arial"/>
              <a:buChar char="●"/>
              <a:defRPr sz="1000" b="0" i="0" u="none" strike="noStrike" cap="none">
                <a:solidFill>
                  <a:schemeClr val="tx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04800" marR="0" lvl="1" indent="-127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558800" marR="0" lvl="2" indent="127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850900" marR="0" lvl="3" indent="-127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1676400" marR="0" lvl="4" indent="-1016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4470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1300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8130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162300" marR="0" lvl="8" indent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68" name="Shape 268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68575" tIns="34275" rIns="68575" bIns="3427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5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69" name="Shape 269"/>
          <p:cNvSpPr txBox="1">
            <a:spLocks noGrp="1"/>
          </p:cNvSpPr>
          <p:nvPr>
            <p:ph type="title"/>
          </p:nvPr>
        </p:nvSpPr>
        <p:spPr>
          <a:xfrm>
            <a:off x="328140" y="262404"/>
            <a:ext cx="81363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Century Gothic"/>
              <a:buNone/>
              <a:defRPr sz="2000" b="1" i="0" u="none" strike="noStrike" cap="none">
                <a:solidFill>
                  <a:schemeClr val="tx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Font typeface="Arial"/>
              <a:buNone/>
              <a:defRPr sz="1400"/>
            </a:lvl2pPr>
            <a:lvl3pPr lvl="2" indent="0" rtl="0">
              <a:spcBef>
                <a:spcPts val="0"/>
              </a:spcBef>
              <a:buFont typeface="Arial"/>
              <a:buNone/>
              <a:defRPr sz="1400"/>
            </a:lvl3pPr>
            <a:lvl4pPr lvl="3" indent="0" rtl="0">
              <a:spcBef>
                <a:spcPts val="0"/>
              </a:spcBef>
              <a:buFont typeface="Arial"/>
              <a:buNone/>
              <a:defRPr sz="1400"/>
            </a:lvl4pPr>
            <a:lvl5pPr lvl="4" indent="0" rtl="0">
              <a:spcBef>
                <a:spcPts val="0"/>
              </a:spcBef>
              <a:buFont typeface="Arial"/>
              <a:buNone/>
              <a:defRPr sz="1400"/>
            </a:lvl5pPr>
            <a:lvl6pPr lvl="5" indent="0" rtl="0">
              <a:spcBef>
                <a:spcPts val="0"/>
              </a:spcBef>
              <a:buFont typeface="Arial"/>
              <a:buNone/>
              <a:defRPr sz="1400"/>
            </a:lvl6pPr>
            <a:lvl7pPr lvl="6" indent="0" rtl="0">
              <a:spcBef>
                <a:spcPts val="0"/>
              </a:spcBef>
              <a:buFont typeface="Arial"/>
              <a:buNone/>
              <a:defRPr sz="1400"/>
            </a:lvl7pPr>
            <a:lvl8pPr lvl="7" indent="0" rtl="0">
              <a:spcBef>
                <a:spcPts val="0"/>
              </a:spcBef>
              <a:buFont typeface="Arial"/>
              <a:buNone/>
              <a:defRPr sz="1400"/>
            </a:lvl8pPr>
            <a:lvl9pPr lvl="8" indent="0" rtl="0">
              <a:spcBef>
                <a:spcPts val="0"/>
              </a:spcBef>
              <a:buFont typeface="Arial"/>
              <a:buNone/>
              <a:defRPr sz="1400"/>
            </a:lvl9pPr>
          </a:lstStyle>
          <a:p>
            <a:endParaRPr dirty="0"/>
          </a:p>
        </p:txBody>
      </p:sp>
      <p:sp>
        <p:nvSpPr>
          <p:cNvPr id="271" name="Shape 271"/>
          <p:cNvSpPr/>
          <p:nvPr/>
        </p:nvSpPr>
        <p:spPr>
          <a:xfrm>
            <a:off x="8815388" y="1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68575" tIns="34275" rIns="68575" bIns="34275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sz="15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72" name="Shape 272"/>
          <p:cNvSpPr/>
          <p:nvPr/>
        </p:nvSpPr>
        <p:spPr>
          <a:xfrm>
            <a:off x="8883267" y="61717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68575" tIns="34275" rIns="68575" bIns="34275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5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15388" y="4889576"/>
            <a:ext cx="3286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C13089-CE13-EC4D-9B7B-24E0FB8CB9C8}" type="slidenum">
              <a:rPr lang="en-US" sz="700" b="1" smtClean="0">
                <a:latin typeface="Century Gothic" charset="0"/>
                <a:ea typeface="Century Gothic" charset="0"/>
                <a:cs typeface="Century Gothic" charset="0"/>
              </a:rPr>
              <a:pPr algn="ctr"/>
              <a:t>‹#›</a:t>
            </a:fld>
            <a:endParaRPr lang="en-US" sz="7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Shape 312"/>
          <p:cNvSpPr txBox="1">
            <a:spLocks noGrp="1"/>
          </p:cNvSpPr>
          <p:nvPr>
            <p:ph type="body" idx="1"/>
          </p:nvPr>
        </p:nvSpPr>
        <p:spPr>
          <a:xfrm>
            <a:off x="5812789" y="1132817"/>
            <a:ext cx="26517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3" name="Shape 313"/>
          <p:cNvSpPr txBox="1">
            <a:spLocks noGrp="1"/>
          </p:cNvSpPr>
          <p:nvPr>
            <p:ph type="body" idx="2"/>
          </p:nvPr>
        </p:nvSpPr>
        <p:spPr>
          <a:xfrm>
            <a:off x="328150" y="2272197"/>
            <a:ext cx="2651700" cy="2563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4" name="Shape 314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5" name="Shape 315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363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entury Gothic"/>
              <a:buNone/>
              <a:defRPr sz="2400" b="1" i="0" u="none" strike="noStrike" cap="none">
                <a:solidFill>
                  <a:schemeClr val="accen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17" name="Shape 317"/>
          <p:cNvSpPr txBox="1">
            <a:spLocks noGrp="1"/>
          </p:cNvSpPr>
          <p:nvPr>
            <p:ph type="body" idx="3"/>
          </p:nvPr>
        </p:nvSpPr>
        <p:spPr>
          <a:xfrm>
            <a:off x="3070466" y="1132817"/>
            <a:ext cx="2651699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8" name="Shape 318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Shape 319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764438" y="4889576"/>
            <a:ext cx="42557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DAF7A72F-4948-2543-A3EB-CA9A1BEE39DC}" type="slidenum">
              <a:rPr lang="en-US" sz="700" b="1" smtClean="0">
                <a:latin typeface="Century Gothic" charset="0"/>
                <a:ea typeface="Century Gothic" charset="0"/>
                <a:cs typeface="Century Gothic" charset="0"/>
              </a:rPr>
              <a:t>‹#›</a:t>
            </a:fld>
            <a:endParaRPr lang="en-US" sz="7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93437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Shape 304"/>
          <p:cNvSpPr txBox="1">
            <a:spLocks noGrp="1"/>
          </p:cNvSpPr>
          <p:nvPr>
            <p:ph type="body" idx="1"/>
          </p:nvPr>
        </p:nvSpPr>
        <p:spPr>
          <a:xfrm>
            <a:off x="4427428" y="1132817"/>
            <a:ext cx="4026000" cy="3701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5" name="Shape 305"/>
          <p:cNvSpPr txBox="1">
            <a:spLocks noGrp="1"/>
          </p:cNvSpPr>
          <p:nvPr>
            <p:ph type="body" idx="2"/>
          </p:nvPr>
        </p:nvSpPr>
        <p:spPr>
          <a:xfrm>
            <a:off x="328141" y="1132816"/>
            <a:ext cx="4026000" cy="3701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6" name="Shape 306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Shape 307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363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entury Gothic"/>
              <a:buNone/>
              <a:defRPr sz="2400" b="1" i="0" u="none" strike="noStrike" cap="none">
                <a:solidFill>
                  <a:schemeClr val="accen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09" name="Shape 309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0" name="Shape 310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815388" y="4889576"/>
            <a:ext cx="3286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8B2CB32-57F3-A14F-BD5D-FAB896799969}" type="slidenum">
              <a:rPr lang="en-US" sz="700" b="1" smtClean="0">
                <a:latin typeface="Century Gothic" charset="0"/>
                <a:ea typeface="Century Gothic" charset="0"/>
                <a:cs typeface="Century Gothic" charset="0"/>
              </a:rPr>
              <a:t>‹#›</a:t>
            </a:fld>
            <a:endParaRPr lang="en-US" sz="7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48914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Page (Light)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Shape 430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2" name="Shape 432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33" name="Shape 433" descr="BCGDV Logo Lockup-03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879871" y="57365"/>
            <a:ext cx="22590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434" name="Shape 434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285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None/>
              <a:defRPr sz="2400" i="0" u="none" strike="noStrike" cap="none">
                <a:solidFill>
                  <a:schemeClr val="dk1"/>
                </a:solidFill>
              </a:defRPr>
            </a:lvl1pPr>
            <a:lvl2pPr lvl="1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lvl="2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lvl="3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lvl="4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lvl="5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lvl="6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lvl="7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lvl="8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7" name="TextBox 6"/>
          <p:cNvSpPr txBox="1"/>
          <p:nvPr userDrawn="1"/>
        </p:nvSpPr>
        <p:spPr>
          <a:xfrm>
            <a:off x="8770189" y="4889576"/>
            <a:ext cx="41981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7161DBB-D784-EB49-9BB3-D66A1C415DDA}" type="slidenum">
              <a:rPr lang="en-US" sz="700" b="1" smtClean="0">
                <a:latin typeface="Century Gothic" charset="0"/>
                <a:ea typeface="Century Gothic" charset="0"/>
                <a:cs typeface="Century Gothic" charset="0"/>
              </a:rPr>
              <a:t>‹#›</a:t>
            </a:fld>
            <a:endParaRPr lang="en-US" sz="7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8905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4 Column Blank Panel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Shape 273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Shape 274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75" name="Shape 275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6" name="Shape 276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77" name="Shape 2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3040" y="-4054"/>
            <a:ext cx="8818500" cy="5147700"/>
          </a:xfrm>
          <a:prstGeom prst="rect">
            <a:avLst/>
          </a:prstGeom>
          <a:noFill/>
          <a:ln>
            <a:noFill/>
          </a:ln>
        </p:spPr>
      </p:pic>
      <p:sp>
        <p:nvSpPr>
          <p:cNvPr id="278" name="Shape 278"/>
          <p:cNvSpPr txBox="1">
            <a:spLocks noGrp="1"/>
          </p:cNvSpPr>
          <p:nvPr>
            <p:ph type="title"/>
          </p:nvPr>
        </p:nvSpPr>
        <p:spPr>
          <a:xfrm>
            <a:off x="328141" y="1359125"/>
            <a:ext cx="8136300" cy="2461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Clr>
                <a:schemeClr val="lt1"/>
              </a:buClr>
              <a:buFont typeface="Century Gothic"/>
              <a:buNone/>
              <a:defRPr sz="24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ydney Divider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0" name="Shape 280" descr="Syd_tower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283871" y="-10434"/>
            <a:ext cx="3860100" cy="4816200"/>
          </a:xfrm>
          <a:prstGeom prst="rect">
            <a:avLst/>
          </a:prstGeom>
          <a:noFill/>
          <a:ln>
            <a:noFill/>
          </a:ln>
        </p:spPr>
      </p:pic>
      <p:sp>
        <p:nvSpPr>
          <p:cNvPr id="281" name="Shape 281"/>
          <p:cNvSpPr/>
          <p:nvPr/>
        </p:nvSpPr>
        <p:spPr>
          <a:xfrm>
            <a:off x="0" y="-10433"/>
            <a:ext cx="5294100" cy="481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2" name="Shape 282"/>
          <p:cNvSpPr/>
          <p:nvPr/>
        </p:nvSpPr>
        <p:spPr>
          <a:xfrm>
            <a:off x="5294032" y="0"/>
            <a:ext cx="133200" cy="4805700"/>
          </a:xfrm>
          <a:prstGeom prst="rect">
            <a:avLst/>
          </a:prstGeom>
          <a:gradFill>
            <a:gsLst>
              <a:gs pos="0">
                <a:srgbClr val="81EFF5">
                  <a:alpha val="61960"/>
                </a:srgbClr>
              </a:gs>
              <a:gs pos="50000">
                <a:srgbClr val="004CA8">
                  <a:alpha val="50980"/>
                </a:srgbClr>
              </a:gs>
              <a:gs pos="100000">
                <a:srgbClr val="004CA8">
                  <a:alpha val="50980"/>
                </a:srgbClr>
              </a:gs>
            </a:gsLst>
            <a:lin ang="15899923" scaled="0"/>
          </a:gra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Shape 283"/>
          <p:cNvSpPr txBox="1">
            <a:spLocks noGrp="1"/>
          </p:cNvSpPr>
          <p:nvPr>
            <p:ph type="body" idx="1"/>
          </p:nvPr>
        </p:nvSpPr>
        <p:spPr>
          <a:xfrm>
            <a:off x="816099" y="1132470"/>
            <a:ext cx="4313700" cy="33945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80"/>
              </a:spcBef>
              <a:buClr>
                <a:srgbClr val="FFFFFF"/>
              </a:buClr>
              <a:buFont typeface="Century Gothic"/>
              <a:buChar char="●"/>
              <a:defRPr sz="14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742950" marR="0" lvl="1" indent="-107950" algn="l" rtl="0">
              <a:spcBef>
                <a:spcPts val="560"/>
              </a:spcBef>
              <a:buClr>
                <a:srgbClr val="FFFFFF"/>
              </a:buClr>
              <a:buSzPct val="100000"/>
              <a:buFont typeface="Century Gothic"/>
              <a:buChar char="–"/>
              <a:defRPr sz="28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143000" marR="0" lvl="2" indent="-76200" algn="l" rtl="0">
              <a:spcBef>
                <a:spcPts val="48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4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600200" marR="0" lvl="3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–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»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514600" marR="0" lvl="5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971800" marR="0" lvl="6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429000" marR="0" lvl="7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886200" marR="0" lvl="8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284" name="Shape 284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5" name="Shape 285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48018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Century Gothic"/>
              <a:buNone/>
              <a:defRPr sz="24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86" name="Shape 286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7" name="Shape 287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Shape 289"/>
          <p:cNvSpPr/>
          <p:nvPr/>
        </p:nvSpPr>
        <p:spPr>
          <a:xfrm>
            <a:off x="0" y="-10433"/>
            <a:ext cx="5294100" cy="481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0" name="Shape 290"/>
          <p:cNvSpPr txBox="1">
            <a:spLocks noGrp="1"/>
          </p:cNvSpPr>
          <p:nvPr>
            <p:ph type="body" idx="1"/>
          </p:nvPr>
        </p:nvSpPr>
        <p:spPr>
          <a:xfrm>
            <a:off x="816099" y="1132470"/>
            <a:ext cx="4313700" cy="33945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80"/>
              </a:spcBef>
              <a:buClr>
                <a:srgbClr val="FFFFFF"/>
              </a:buClr>
              <a:buFont typeface="Century Gothic"/>
              <a:buChar char="●"/>
              <a:defRPr sz="14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742950" marR="0" lvl="1" indent="-107950" algn="l" rtl="0">
              <a:spcBef>
                <a:spcPts val="560"/>
              </a:spcBef>
              <a:buClr>
                <a:srgbClr val="FFFFFF"/>
              </a:buClr>
              <a:buSzPct val="100000"/>
              <a:buFont typeface="Century Gothic"/>
              <a:buChar char="–"/>
              <a:defRPr sz="28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143000" marR="0" lvl="2" indent="-76200" algn="l" rtl="0">
              <a:spcBef>
                <a:spcPts val="48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4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600200" marR="0" lvl="3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–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»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514600" marR="0" lvl="5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971800" marR="0" lvl="6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429000" marR="0" lvl="7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886200" marR="0" lvl="8" indent="-101600" algn="l" rtl="0">
              <a:spcBef>
                <a:spcPts val="400"/>
              </a:spcBef>
              <a:buClr>
                <a:srgbClr val="FFFFFF"/>
              </a:buClr>
              <a:buSzPct val="100000"/>
              <a:buFont typeface="Century Gothic"/>
              <a:buChar char="•"/>
              <a:defRPr sz="200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291" name="Shape 291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92" name="Shape 292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48018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Century Gothic"/>
              <a:buNone/>
              <a:defRPr sz="24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93" name="Shape 293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" name="Shape 294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5" name="Shape 295"/>
          <p:cNvSpPr/>
          <p:nvPr/>
        </p:nvSpPr>
        <p:spPr>
          <a:xfrm>
            <a:off x="5294032" y="0"/>
            <a:ext cx="133200" cy="4805700"/>
          </a:xfrm>
          <a:prstGeom prst="rect">
            <a:avLst/>
          </a:prstGeom>
          <a:gradFill>
            <a:gsLst>
              <a:gs pos="0">
                <a:srgbClr val="81EFF5">
                  <a:alpha val="61960"/>
                </a:srgbClr>
              </a:gs>
              <a:gs pos="50000">
                <a:srgbClr val="004CA8">
                  <a:alpha val="50980"/>
                </a:srgbClr>
              </a:gs>
              <a:gs pos="100000">
                <a:srgbClr val="004CA8">
                  <a:alpha val="50980"/>
                </a:srgbClr>
              </a:gs>
            </a:gsLst>
            <a:lin ang="15899923" scaled="0"/>
          </a:gra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Shape 297"/>
          <p:cNvSpPr txBox="1">
            <a:spLocks noGrp="1"/>
          </p:cNvSpPr>
          <p:nvPr>
            <p:ph type="body" idx="1"/>
          </p:nvPr>
        </p:nvSpPr>
        <p:spPr>
          <a:xfrm>
            <a:off x="328141" y="1132816"/>
            <a:ext cx="8136300" cy="3701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8" name="Shape 298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9" name="Shape 299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363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entury Gothic"/>
              <a:buNone/>
              <a:defRPr sz="2400" b="1" i="0" u="none" strike="noStrike" cap="none">
                <a:solidFill>
                  <a:schemeClr val="accen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00" name="Shape 300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1" name="Shape 301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2" name="Shape 302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Shape 321"/>
          <p:cNvSpPr txBox="1">
            <a:spLocks noGrp="1"/>
          </p:cNvSpPr>
          <p:nvPr>
            <p:ph type="body" idx="1"/>
          </p:nvPr>
        </p:nvSpPr>
        <p:spPr>
          <a:xfrm>
            <a:off x="6498589" y="1132817"/>
            <a:ext cx="19659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2" name="Shape 322"/>
          <p:cNvSpPr txBox="1">
            <a:spLocks noGrp="1"/>
          </p:cNvSpPr>
          <p:nvPr>
            <p:ph type="body" idx="2"/>
          </p:nvPr>
        </p:nvSpPr>
        <p:spPr>
          <a:xfrm>
            <a:off x="4442612" y="1132817"/>
            <a:ext cx="19659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3" name="Shape 323"/>
          <p:cNvSpPr txBox="1">
            <a:spLocks noGrp="1"/>
          </p:cNvSpPr>
          <p:nvPr>
            <p:ph type="body" idx="3"/>
          </p:nvPr>
        </p:nvSpPr>
        <p:spPr>
          <a:xfrm>
            <a:off x="2386633" y="1132817"/>
            <a:ext cx="19659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4" name="Shape 324"/>
          <p:cNvSpPr txBox="1">
            <a:spLocks noGrp="1"/>
          </p:cNvSpPr>
          <p:nvPr>
            <p:ph type="body" idx="4"/>
          </p:nvPr>
        </p:nvSpPr>
        <p:spPr>
          <a:xfrm>
            <a:off x="330654" y="1132816"/>
            <a:ext cx="19659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5" name="Shape 325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" name="Shape 326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363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entury Gothic"/>
              <a:buNone/>
              <a:defRPr sz="2400" b="1" i="0" u="none" strike="noStrike" cap="none">
                <a:solidFill>
                  <a:schemeClr val="accen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27" name="Shape 327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8" name="Shape 328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9" name="Shape 329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Shape 331"/>
          <p:cNvSpPr txBox="1">
            <a:spLocks noGrp="1"/>
          </p:cNvSpPr>
          <p:nvPr>
            <p:ph type="body" idx="1"/>
          </p:nvPr>
        </p:nvSpPr>
        <p:spPr>
          <a:xfrm>
            <a:off x="5286171" y="1132817"/>
            <a:ext cx="15264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2" name="Shape 332"/>
          <p:cNvSpPr txBox="1">
            <a:spLocks noGrp="1"/>
          </p:cNvSpPr>
          <p:nvPr>
            <p:ph type="body" idx="2"/>
          </p:nvPr>
        </p:nvSpPr>
        <p:spPr>
          <a:xfrm>
            <a:off x="3634332" y="1132817"/>
            <a:ext cx="15264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3" name="Shape 333"/>
          <p:cNvSpPr txBox="1">
            <a:spLocks noGrp="1"/>
          </p:cNvSpPr>
          <p:nvPr>
            <p:ph type="body" idx="3"/>
          </p:nvPr>
        </p:nvSpPr>
        <p:spPr>
          <a:xfrm>
            <a:off x="1982492" y="1132817"/>
            <a:ext cx="15264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4" name="Shape 334"/>
          <p:cNvSpPr txBox="1">
            <a:spLocks noGrp="1"/>
          </p:cNvSpPr>
          <p:nvPr>
            <p:ph type="body" idx="4"/>
          </p:nvPr>
        </p:nvSpPr>
        <p:spPr>
          <a:xfrm>
            <a:off x="330654" y="1132816"/>
            <a:ext cx="15264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5" name="Shape 335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Shape 336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363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entury Gothic"/>
              <a:buNone/>
              <a:defRPr sz="2400" b="1" i="0" u="none" strike="noStrike" cap="none">
                <a:solidFill>
                  <a:schemeClr val="accen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37" name="Shape 337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38" name="Shape 338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" name="Shape 339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0" name="Shape 340"/>
          <p:cNvSpPr txBox="1">
            <a:spLocks noGrp="1"/>
          </p:cNvSpPr>
          <p:nvPr>
            <p:ph type="body" idx="5"/>
          </p:nvPr>
        </p:nvSpPr>
        <p:spPr>
          <a:xfrm>
            <a:off x="6938010" y="1132817"/>
            <a:ext cx="1526400" cy="3703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240"/>
              </a:spcBef>
              <a:buClr>
                <a:schemeClr val="dk1"/>
              </a:buClr>
              <a:buFont typeface="Arial"/>
              <a:buChar char="●"/>
              <a:defRPr sz="1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74904" marR="0" lvl="1" indent="-82804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85800" marR="0" lvl="2" indent="-38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051560" marR="0" lvl="3" indent="-7366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–"/>
              <a:defRPr sz="1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lvl="4" indent="-165100" algn="l" rtl="0">
              <a:spcBef>
                <a:spcPts val="200"/>
              </a:spcBef>
              <a:buClr>
                <a:schemeClr val="dk1"/>
              </a:buClr>
              <a:buSzPct val="100000"/>
              <a:buFont typeface="Arial"/>
              <a:buChar char="»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4 Column Blank Panel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2" name="Shape 342"/>
          <p:cNvPicPr preferRelativeResize="0"/>
          <p:nvPr/>
        </p:nvPicPr>
        <p:blipFill rotWithShape="1">
          <a:blip r:embed="rId2">
            <a:alphaModFix/>
          </a:blip>
          <a:srcRect t="7314" b="4564"/>
          <a:stretch/>
        </p:blipFill>
        <p:spPr>
          <a:xfrm>
            <a:off x="-3241" y="-2"/>
            <a:ext cx="88185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43" name="Shape 343"/>
          <p:cNvSpPr/>
          <p:nvPr/>
        </p:nvSpPr>
        <p:spPr>
          <a:xfrm>
            <a:off x="8815388" y="0"/>
            <a:ext cx="328500" cy="51435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4" name="Shape 344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45" name="Shape 345"/>
          <p:cNvSpPr/>
          <p:nvPr/>
        </p:nvSpPr>
        <p:spPr>
          <a:xfrm>
            <a:off x="8815388" y="0"/>
            <a:ext cx="328500" cy="346200"/>
          </a:xfrm>
          <a:prstGeom prst="rect">
            <a:avLst/>
          </a:prstGeom>
          <a:solidFill>
            <a:srgbClr val="1D252D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" name="Shape 346"/>
          <p:cNvSpPr/>
          <p:nvPr/>
        </p:nvSpPr>
        <p:spPr>
          <a:xfrm>
            <a:off x="8883267" y="61716"/>
            <a:ext cx="192900" cy="222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989" y="18270"/>
                </a:moveTo>
                <a:lnTo>
                  <a:pt x="119989" y="18270"/>
                </a:lnTo>
                <a:cubicBezTo>
                  <a:pt x="119989" y="17109"/>
                  <a:pt x="118941" y="16201"/>
                  <a:pt x="117742" y="16201"/>
                </a:cubicBezTo>
                <a:cubicBezTo>
                  <a:pt x="117138" y="16201"/>
                  <a:pt x="116543" y="16463"/>
                  <a:pt x="116251" y="16716"/>
                </a:cubicBezTo>
                <a:cubicBezTo>
                  <a:pt x="116100" y="16716"/>
                  <a:pt x="116100" y="16716"/>
                  <a:pt x="116100" y="16716"/>
                </a:cubicBezTo>
                <a:cubicBezTo>
                  <a:pt x="108763" y="22416"/>
                  <a:pt x="108763" y="22416"/>
                  <a:pt x="108763" y="22416"/>
                </a:cubicBezTo>
                <a:lnTo>
                  <a:pt x="108763" y="22416"/>
                </a:lnTo>
                <a:cubicBezTo>
                  <a:pt x="108612" y="22547"/>
                  <a:pt x="108612" y="22547"/>
                  <a:pt x="108471" y="22678"/>
                </a:cubicBezTo>
                <a:cubicBezTo>
                  <a:pt x="108169" y="22940"/>
                  <a:pt x="107564" y="23071"/>
                  <a:pt x="107121" y="23071"/>
                </a:cubicBezTo>
                <a:cubicBezTo>
                  <a:pt x="106667" y="23071"/>
                  <a:pt x="106375" y="22940"/>
                  <a:pt x="106073" y="22809"/>
                </a:cubicBezTo>
                <a:cubicBezTo>
                  <a:pt x="105922" y="22809"/>
                  <a:pt x="105922" y="22809"/>
                  <a:pt x="105922" y="22809"/>
                </a:cubicBezTo>
                <a:cubicBezTo>
                  <a:pt x="105619" y="22547"/>
                  <a:pt x="105619" y="22547"/>
                  <a:pt x="105619" y="22547"/>
                </a:cubicBezTo>
                <a:cubicBezTo>
                  <a:pt x="61340" y="261"/>
                  <a:pt x="61340" y="261"/>
                  <a:pt x="61340" y="261"/>
                </a:cubicBezTo>
                <a:cubicBezTo>
                  <a:pt x="61189" y="261"/>
                  <a:pt x="61189" y="261"/>
                  <a:pt x="61189" y="261"/>
                </a:cubicBezTo>
                <a:lnTo>
                  <a:pt x="61189" y="261"/>
                </a:lnTo>
                <a:cubicBezTo>
                  <a:pt x="60886" y="130"/>
                  <a:pt x="60443" y="0"/>
                  <a:pt x="60141" y="0"/>
                </a:cubicBezTo>
                <a:cubicBezTo>
                  <a:pt x="59697" y="0"/>
                  <a:pt x="59244" y="130"/>
                  <a:pt x="58951" y="261"/>
                </a:cubicBezTo>
                <a:lnTo>
                  <a:pt x="58951" y="261"/>
                </a:lnTo>
                <a:cubicBezTo>
                  <a:pt x="1199" y="29286"/>
                  <a:pt x="1199" y="29286"/>
                  <a:pt x="1199" y="29286"/>
                </a:cubicBezTo>
                <a:lnTo>
                  <a:pt x="1199" y="29286"/>
                </a:lnTo>
                <a:cubicBezTo>
                  <a:pt x="453" y="29679"/>
                  <a:pt x="0" y="30325"/>
                  <a:pt x="0" y="30971"/>
                </a:cubicBezTo>
                <a:cubicBezTo>
                  <a:pt x="0" y="101590"/>
                  <a:pt x="0" y="101590"/>
                  <a:pt x="0" y="101590"/>
                </a:cubicBezTo>
                <a:cubicBezTo>
                  <a:pt x="0" y="102759"/>
                  <a:pt x="1048" y="103667"/>
                  <a:pt x="2247" y="103667"/>
                </a:cubicBezTo>
                <a:cubicBezTo>
                  <a:pt x="2841" y="103667"/>
                  <a:pt x="3446" y="103405"/>
                  <a:pt x="3748" y="103143"/>
                </a:cubicBezTo>
                <a:cubicBezTo>
                  <a:pt x="3889" y="103143"/>
                  <a:pt x="3889" y="103143"/>
                  <a:pt x="3889" y="103143"/>
                </a:cubicBezTo>
                <a:cubicBezTo>
                  <a:pt x="11377" y="97312"/>
                  <a:pt x="11377" y="97312"/>
                  <a:pt x="11377" y="97312"/>
                </a:cubicBezTo>
                <a:lnTo>
                  <a:pt x="11377" y="97312"/>
                </a:lnTo>
                <a:cubicBezTo>
                  <a:pt x="11820" y="97059"/>
                  <a:pt x="12274" y="96797"/>
                  <a:pt x="12868" y="96797"/>
                </a:cubicBezTo>
                <a:cubicBezTo>
                  <a:pt x="13322" y="96797"/>
                  <a:pt x="13614" y="96928"/>
                  <a:pt x="13916" y="97059"/>
                </a:cubicBezTo>
                <a:lnTo>
                  <a:pt x="14067" y="97059"/>
                </a:lnTo>
                <a:lnTo>
                  <a:pt x="14067" y="97059"/>
                </a:lnTo>
                <a:cubicBezTo>
                  <a:pt x="14370" y="97312"/>
                  <a:pt x="14370" y="97312"/>
                  <a:pt x="14370" y="97312"/>
                </a:cubicBezTo>
                <a:cubicBezTo>
                  <a:pt x="58951" y="119607"/>
                  <a:pt x="58951" y="119607"/>
                  <a:pt x="58951" y="119607"/>
                </a:cubicBezTo>
                <a:cubicBezTo>
                  <a:pt x="58951" y="119738"/>
                  <a:pt x="58951" y="119738"/>
                  <a:pt x="58951" y="119738"/>
                </a:cubicBezTo>
                <a:lnTo>
                  <a:pt x="58951" y="119738"/>
                </a:lnTo>
                <a:cubicBezTo>
                  <a:pt x="59244" y="119860"/>
                  <a:pt x="59697" y="119991"/>
                  <a:pt x="60141" y="119991"/>
                </a:cubicBezTo>
                <a:cubicBezTo>
                  <a:pt x="60443" y="119991"/>
                  <a:pt x="60745" y="119860"/>
                  <a:pt x="61048" y="119738"/>
                </a:cubicBezTo>
                <a:lnTo>
                  <a:pt x="61048" y="119738"/>
                </a:lnTo>
                <a:cubicBezTo>
                  <a:pt x="61340" y="119607"/>
                  <a:pt x="61340" y="119607"/>
                  <a:pt x="61340" y="119607"/>
                </a:cubicBezTo>
                <a:cubicBezTo>
                  <a:pt x="118639" y="90835"/>
                  <a:pt x="118639" y="90835"/>
                  <a:pt x="118639" y="90835"/>
                </a:cubicBezTo>
                <a:cubicBezTo>
                  <a:pt x="118941" y="90582"/>
                  <a:pt x="118941" y="90582"/>
                  <a:pt x="118941" y="90582"/>
                </a:cubicBezTo>
                <a:cubicBezTo>
                  <a:pt x="119536" y="90320"/>
                  <a:pt x="119989" y="89666"/>
                  <a:pt x="119989" y="89020"/>
                </a:cubicBezTo>
                <a:lnTo>
                  <a:pt x="119989" y="89020"/>
                </a:lnTo>
                <a:cubicBezTo>
                  <a:pt x="119989" y="18270"/>
                  <a:pt x="119989" y="18270"/>
                  <a:pt x="119989" y="18270"/>
                </a:cubicBezTo>
                <a:close/>
                <a:moveTo>
                  <a:pt x="105619" y="29417"/>
                </a:moveTo>
                <a:lnTo>
                  <a:pt x="105619" y="29417"/>
                </a:lnTo>
                <a:cubicBezTo>
                  <a:pt x="105619" y="37064"/>
                  <a:pt x="105619" y="37064"/>
                  <a:pt x="105619" y="37064"/>
                </a:cubicBezTo>
                <a:cubicBezTo>
                  <a:pt x="105619" y="81766"/>
                  <a:pt x="105619" y="81766"/>
                  <a:pt x="105619" y="81766"/>
                </a:cubicBezTo>
                <a:lnTo>
                  <a:pt x="105619" y="81766"/>
                </a:lnTo>
                <a:cubicBezTo>
                  <a:pt x="105619" y="82412"/>
                  <a:pt x="105176" y="83058"/>
                  <a:pt x="104571" y="83450"/>
                </a:cubicBezTo>
                <a:cubicBezTo>
                  <a:pt x="104430" y="83450"/>
                  <a:pt x="104430" y="83581"/>
                  <a:pt x="104279" y="83581"/>
                </a:cubicBezTo>
                <a:cubicBezTo>
                  <a:pt x="61340" y="105221"/>
                  <a:pt x="61340" y="105221"/>
                  <a:pt x="61340" y="105221"/>
                </a:cubicBezTo>
                <a:lnTo>
                  <a:pt x="61340" y="105221"/>
                </a:lnTo>
                <a:cubicBezTo>
                  <a:pt x="61189" y="105221"/>
                  <a:pt x="61189" y="105352"/>
                  <a:pt x="61048" y="105352"/>
                </a:cubicBezTo>
                <a:lnTo>
                  <a:pt x="61048" y="105352"/>
                </a:lnTo>
                <a:cubicBezTo>
                  <a:pt x="60745" y="105474"/>
                  <a:pt x="60443" y="105474"/>
                  <a:pt x="60000" y="105474"/>
                </a:cubicBezTo>
                <a:cubicBezTo>
                  <a:pt x="59697" y="105474"/>
                  <a:pt x="59244" y="105474"/>
                  <a:pt x="58951" y="105352"/>
                </a:cubicBezTo>
                <a:lnTo>
                  <a:pt x="58951" y="105352"/>
                </a:lnTo>
                <a:cubicBezTo>
                  <a:pt x="58951" y="105221"/>
                  <a:pt x="58951" y="105221"/>
                  <a:pt x="58800" y="105221"/>
                </a:cubicBezTo>
                <a:cubicBezTo>
                  <a:pt x="25435" y="88374"/>
                  <a:pt x="25435" y="88374"/>
                  <a:pt x="25435" y="88374"/>
                </a:cubicBezTo>
                <a:cubicBezTo>
                  <a:pt x="25142" y="88374"/>
                  <a:pt x="25142" y="88374"/>
                  <a:pt x="25142" y="88374"/>
                </a:cubicBezTo>
                <a:cubicBezTo>
                  <a:pt x="24840" y="88243"/>
                  <a:pt x="24538" y="88112"/>
                  <a:pt x="24235" y="88112"/>
                </a:cubicBezTo>
                <a:cubicBezTo>
                  <a:pt x="23641" y="88112"/>
                  <a:pt x="23036" y="88243"/>
                  <a:pt x="22744" y="88636"/>
                </a:cubicBezTo>
                <a:lnTo>
                  <a:pt x="22744" y="88636"/>
                </a:lnTo>
                <a:cubicBezTo>
                  <a:pt x="18249" y="91996"/>
                  <a:pt x="18249" y="91996"/>
                  <a:pt x="18249" y="91996"/>
                </a:cubicBezTo>
                <a:lnTo>
                  <a:pt x="18108" y="92136"/>
                </a:lnTo>
                <a:cubicBezTo>
                  <a:pt x="17957" y="92136"/>
                  <a:pt x="17957" y="92136"/>
                  <a:pt x="17957" y="92136"/>
                </a:cubicBezTo>
                <a:cubicBezTo>
                  <a:pt x="17655" y="92389"/>
                  <a:pt x="17201" y="92520"/>
                  <a:pt x="16607" y="92520"/>
                </a:cubicBezTo>
                <a:cubicBezTo>
                  <a:pt x="15408" y="92520"/>
                  <a:pt x="14370" y="91743"/>
                  <a:pt x="14370" y="90582"/>
                </a:cubicBezTo>
                <a:cubicBezTo>
                  <a:pt x="14370" y="38486"/>
                  <a:pt x="14370" y="38486"/>
                  <a:pt x="14370" y="38486"/>
                </a:cubicBezTo>
                <a:cubicBezTo>
                  <a:pt x="14370" y="38364"/>
                  <a:pt x="14370" y="38364"/>
                  <a:pt x="14370" y="38233"/>
                </a:cubicBezTo>
                <a:lnTo>
                  <a:pt x="14370" y="38102"/>
                </a:lnTo>
                <a:cubicBezTo>
                  <a:pt x="14511" y="37456"/>
                  <a:pt x="14813" y="36933"/>
                  <a:pt x="15408" y="36549"/>
                </a:cubicBezTo>
                <a:cubicBezTo>
                  <a:pt x="15559" y="36549"/>
                  <a:pt x="15559" y="36549"/>
                  <a:pt x="15559" y="36549"/>
                </a:cubicBezTo>
                <a:cubicBezTo>
                  <a:pt x="58951" y="14769"/>
                  <a:pt x="58951" y="14769"/>
                  <a:pt x="58951" y="14769"/>
                </a:cubicBezTo>
                <a:lnTo>
                  <a:pt x="58951" y="14769"/>
                </a:lnTo>
                <a:cubicBezTo>
                  <a:pt x="59244" y="14516"/>
                  <a:pt x="59697" y="14516"/>
                  <a:pt x="60141" y="14516"/>
                </a:cubicBezTo>
                <a:cubicBezTo>
                  <a:pt x="60443" y="14516"/>
                  <a:pt x="60886" y="14516"/>
                  <a:pt x="61189" y="14647"/>
                </a:cubicBezTo>
                <a:lnTo>
                  <a:pt x="61189" y="14647"/>
                </a:lnTo>
                <a:cubicBezTo>
                  <a:pt x="94403" y="31494"/>
                  <a:pt x="94403" y="31494"/>
                  <a:pt x="94403" y="31494"/>
                </a:cubicBezTo>
                <a:cubicBezTo>
                  <a:pt x="94857" y="31625"/>
                  <a:pt x="94857" y="31625"/>
                  <a:pt x="94857" y="31625"/>
                </a:cubicBezTo>
                <a:cubicBezTo>
                  <a:pt x="95149" y="31748"/>
                  <a:pt x="95451" y="31748"/>
                  <a:pt x="95754" y="31748"/>
                </a:cubicBezTo>
                <a:cubicBezTo>
                  <a:pt x="96197" y="31748"/>
                  <a:pt x="96650" y="31625"/>
                  <a:pt x="97094" y="31363"/>
                </a:cubicBezTo>
                <a:cubicBezTo>
                  <a:pt x="97396" y="31102"/>
                  <a:pt x="97396" y="31102"/>
                  <a:pt x="97396" y="31102"/>
                </a:cubicBezTo>
                <a:cubicBezTo>
                  <a:pt x="101740" y="27732"/>
                  <a:pt x="101740" y="27732"/>
                  <a:pt x="101740" y="27732"/>
                </a:cubicBezTo>
                <a:lnTo>
                  <a:pt x="101740" y="27732"/>
                </a:lnTo>
                <a:cubicBezTo>
                  <a:pt x="102183" y="27479"/>
                  <a:pt x="102777" y="27348"/>
                  <a:pt x="103382" y="27348"/>
                </a:cubicBezTo>
                <a:cubicBezTo>
                  <a:pt x="104571" y="27348"/>
                  <a:pt x="105478" y="28125"/>
                  <a:pt x="105619" y="29155"/>
                </a:cubicBezTo>
                <a:cubicBezTo>
                  <a:pt x="105619" y="29155"/>
                  <a:pt x="105619" y="29155"/>
                  <a:pt x="105619" y="29286"/>
                </a:cubicBezTo>
                <a:cubicBezTo>
                  <a:pt x="105619" y="29286"/>
                  <a:pt x="105619" y="29286"/>
                  <a:pt x="105619" y="2941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" name="Shape 347"/>
          <p:cNvSpPr/>
          <p:nvPr/>
        </p:nvSpPr>
        <p:spPr>
          <a:xfrm>
            <a:off x="-5111" y="-2"/>
            <a:ext cx="8815500" cy="5143500"/>
          </a:xfrm>
          <a:prstGeom prst="rect">
            <a:avLst/>
          </a:prstGeom>
          <a:gradFill>
            <a:gsLst>
              <a:gs pos="0">
                <a:srgbClr val="004CA8">
                  <a:alpha val="53725"/>
                </a:srgbClr>
              </a:gs>
              <a:gs pos="48000">
                <a:srgbClr val="318DFE">
                  <a:alpha val="55686"/>
                </a:srgbClr>
              </a:gs>
              <a:gs pos="100000">
                <a:srgbClr val="81EFF5">
                  <a:alpha val="53725"/>
                </a:srgbClr>
              </a:gs>
            </a:gsLst>
            <a:lin ang="20399934" scaled="0"/>
          </a:gra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2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4688C6D-2690-4ACE-8874-F9D3556D19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647971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19" imgW="473" imgH="473" progId="TCLayout.ActiveDocument.1">
                  <p:embed/>
                </p:oleObj>
              </mc:Choice>
              <mc:Fallback>
                <p:oleObj name="think-cell Slide" r:id="rId19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3" name="Shape 223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363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entury Gothic"/>
              <a:buNone/>
              <a:defRPr sz="2400" b="1" i="0" u="none" strike="noStrike" cap="none">
                <a:solidFill>
                  <a:schemeClr val="accen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24" name="Shape 224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00" cy="273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7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‹#›</a:t>
            </a:fld>
            <a:endParaRPr lang="en-US" sz="700" b="1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E933A1-E43F-4278-8E65-255BC8F926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920126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36408" cy="85725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entury Gothic"/>
              <a:buNone/>
              <a:defRPr sz="2400" b="1" i="0" u="none" strike="noStrike" cap="none">
                <a:solidFill>
                  <a:schemeClr val="accen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 dirty="0"/>
          </a:p>
        </p:txBody>
      </p:sp>
      <p:sp>
        <p:nvSpPr>
          <p:cNvPr id="11" name="Shape 11"/>
          <p:cNvSpPr txBox="1">
            <a:spLocks noGrp="1"/>
          </p:cNvSpPr>
          <p:nvPr>
            <p:ph type="sldNum" idx="12"/>
          </p:nvPr>
        </p:nvSpPr>
        <p:spPr>
          <a:xfrm>
            <a:off x="8817257" y="4833937"/>
            <a:ext cx="311149" cy="27384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buSzPct val="25000"/>
            </a:pPr>
            <a:fld id="{00000000-1234-1234-1234-123412341234}" type="slidenum">
              <a:rPr lang="en-US" sz="700" b="1">
                <a:latin typeface="Century Gothic"/>
                <a:ea typeface="Century Gothic"/>
                <a:cs typeface="Century Gothic"/>
                <a:sym typeface="Century Gothic"/>
              </a:rPr>
              <a:pPr algn="ctr">
                <a:buSzPct val="25000"/>
              </a:pPr>
              <a:t>‹#›</a:t>
            </a:fld>
            <a:endParaRPr lang="en-US" sz="700" b="1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40905592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5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chemeClr val="tx1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1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3" Type="http://schemas.openxmlformats.org/officeDocument/2006/relationships/tags" Target="../tags/tag7.xml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tags" Target="../tags/tag6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" name="Shape 873"/>
          <p:cNvSpPr txBox="1"/>
          <p:nvPr/>
        </p:nvSpPr>
        <p:spPr>
          <a:xfrm>
            <a:off x="228562" y="1953605"/>
            <a:ext cx="7085455" cy="1148006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>
              <a:lnSpc>
                <a:spcPct val="90000"/>
              </a:lnSpc>
              <a:buSzPct val="25000"/>
            </a:pPr>
            <a:r>
              <a:rPr lang="en-US" sz="4400" b="1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mmersion Sess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BAE951F-A318-4DB8-86D0-66B5A3109BA4}"/>
              </a:ext>
            </a:extLst>
          </p:cNvPr>
          <p:cNvSpPr/>
          <p:nvPr/>
        </p:nvSpPr>
        <p:spPr>
          <a:xfrm>
            <a:off x="0" y="0"/>
            <a:ext cx="887896" cy="262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/>
              <a:t>Do not edit</a:t>
            </a:r>
          </a:p>
        </p:txBody>
      </p:sp>
    </p:spTree>
    <p:extLst>
      <p:ext uri="{BB962C8B-B14F-4D97-AF65-F5344CB8AC3E}">
        <p14:creationId xmlns:p14="http://schemas.microsoft.com/office/powerpoint/2010/main" val="1700789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67D620-66BF-4588-858A-25EDF0AB0C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5553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/>
        </p:nvSpPr>
        <p:spPr>
          <a:xfrm>
            <a:off x="0" y="1"/>
            <a:ext cx="8811063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90" name="Shape 990"/>
          <p:cNvSpPr txBox="1">
            <a:spLocks noGrp="1"/>
          </p:cNvSpPr>
          <p:nvPr>
            <p:ph type="title"/>
          </p:nvPr>
        </p:nvSpPr>
        <p:spPr>
          <a:xfrm>
            <a:off x="328150" y="262402"/>
            <a:ext cx="8136300" cy="3426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US" sz="2400" dirty="0">
                <a:solidFill>
                  <a:schemeClr val="bg1"/>
                </a:solidFill>
              </a:rPr>
              <a:t>The work we have done so far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41F5C85-C78B-4664-8893-2412DF31E0D6}"/>
              </a:ext>
            </a:extLst>
          </p:cNvPr>
          <p:cNvGrpSpPr/>
          <p:nvPr/>
        </p:nvGrpSpPr>
        <p:grpSpPr>
          <a:xfrm>
            <a:off x="1320144" y="1413700"/>
            <a:ext cx="6224663" cy="3666850"/>
            <a:chOff x="1320144" y="1248050"/>
            <a:chExt cx="6224663" cy="3666850"/>
          </a:xfrm>
        </p:grpSpPr>
        <p:grpSp>
          <p:nvGrpSpPr>
            <p:cNvPr id="992" name="Shape 992"/>
            <p:cNvGrpSpPr/>
            <p:nvPr/>
          </p:nvGrpSpPr>
          <p:grpSpPr>
            <a:xfrm>
              <a:off x="2602326" y="1256104"/>
              <a:ext cx="567222" cy="567222"/>
              <a:chOff x="6142037" y="1344612"/>
              <a:chExt cx="333300" cy="333299"/>
            </a:xfrm>
            <a:solidFill>
              <a:srgbClr val="FFFFFF"/>
            </a:solidFill>
          </p:grpSpPr>
          <p:sp>
            <p:nvSpPr>
              <p:cNvPr id="993" name="Shape 993"/>
              <p:cNvSpPr/>
              <p:nvPr/>
            </p:nvSpPr>
            <p:spPr>
              <a:xfrm>
                <a:off x="6142037" y="1344612"/>
                <a:ext cx="333300" cy="33329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9935" y="0"/>
                    </a:moveTo>
                    <a:lnTo>
                      <a:pt x="59935" y="0"/>
                    </a:lnTo>
                    <a:cubicBezTo>
                      <a:pt x="26925" y="0"/>
                      <a:pt x="0" y="26925"/>
                      <a:pt x="0" y="59935"/>
                    </a:cubicBezTo>
                    <a:cubicBezTo>
                      <a:pt x="0" y="92944"/>
                      <a:pt x="26925" y="119870"/>
                      <a:pt x="59935" y="119870"/>
                    </a:cubicBezTo>
                    <a:cubicBezTo>
                      <a:pt x="92944" y="119870"/>
                      <a:pt x="119870" y="92944"/>
                      <a:pt x="119870" y="59935"/>
                    </a:cubicBezTo>
                    <a:cubicBezTo>
                      <a:pt x="119870" y="26925"/>
                      <a:pt x="92944" y="0"/>
                      <a:pt x="59935" y="0"/>
                    </a:cubicBezTo>
                    <a:close/>
                    <a:moveTo>
                      <a:pt x="59935" y="107961"/>
                    </a:moveTo>
                    <a:lnTo>
                      <a:pt x="59935" y="107961"/>
                    </a:lnTo>
                    <a:cubicBezTo>
                      <a:pt x="34433" y="107961"/>
                      <a:pt x="12038" y="86860"/>
                      <a:pt x="12038" y="59935"/>
                    </a:cubicBezTo>
                    <a:cubicBezTo>
                      <a:pt x="12038" y="58511"/>
                      <a:pt x="12038" y="56957"/>
                      <a:pt x="13462" y="55404"/>
                    </a:cubicBezTo>
                    <a:cubicBezTo>
                      <a:pt x="26925" y="49449"/>
                      <a:pt x="37411" y="37411"/>
                      <a:pt x="43495" y="22524"/>
                    </a:cubicBezTo>
                    <a:cubicBezTo>
                      <a:pt x="55404" y="38964"/>
                      <a:pt x="73398" y="47896"/>
                      <a:pt x="92944" y="47896"/>
                    </a:cubicBezTo>
                    <a:cubicBezTo>
                      <a:pt x="97346" y="47896"/>
                      <a:pt x="101877" y="47896"/>
                      <a:pt x="106407" y="46472"/>
                    </a:cubicBezTo>
                    <a:cubicBezTo>
                      <a:pt x="107961" y="50873"/>
                      <a:pt x="107961" y="55404"/>
                      <a:pt x="107961" y="59935"/>
                    </a:cubicBezTo>
                    <a:cubicBezTo>
                      <a:pt x="107961" y="86860"/>
                      <a:pt x="86860" y="107961"/>
                      <a:pt x="59935" y="10796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endParaRPr sz="1500"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994" name="Shape 994"/>
              <p:cNvSpPr/>
              <p:nvPr/>
            </p:nvSpPr>
            <p:spPr>
              <a:xfrm>
                <a:off x="6337300" y="1506537"/>
                <a:ext cx="42900" cy="4140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9487" y="0"/>
                    </a:moveTo>
                    <a:lnTo>
                      <a:pt x="59487" y="0"/>
                    </a:lnTo>
                    <a:cubicBezTo>
                      <a:pt x="35897" y="0"/>
                      <a:pt x="0" y="23793"/>
                      <a:pt x="0" y="58965"/>
                    </a:cubicBezTo>
                    <a:cubicBezTo>
                      <a:pt x="0" y="95172"/>
                      <a:pt x="35897" y="118965"/>
                      <a:pt x="59487" y="118965"/>
                    </a:cubicBezTo>
                    <a:cubicBezTo>
                      <a:pt x="95384" y="118965"/>
                      <a:pt x="118974" y="95172"/>
                      <a:pt x="118974" y="58965"/>
                    </a:cubicBezTo>
                    <a:cubicBezTo>
                      <a:pt x="118974" y="23793"/>
                      <a:pt x="95384" y="0"/>
                      <a:pt x="59487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endParaRPr sz="1500"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995" name="Shape 995"/>
              <p:cNvSpPr/>
              <p:nvPr/>
            </p:nvSpPr>
            <p:spPr>
              <a:xfrm>
                <a:off x="6237287" y="1506537"/>
                <a:ext cx="42900" cy="4140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9487" y="0"/>
                    </a:moveTo>
                    <a:lnTo>
                      <a:pt x="59487" y="0"/>
                    </a:lnTo>
                    <a:cubicBezTo>
                      <a:pt x="35897" y="0"/>
                      <a:pt x="0" y="23793"/>
                      <a:pt x="0" y="58965"/>
                    </a:cubicBezTo>
                    <a:cubicBezTo>
                      <a:pt x="0" y="95172"/>
                      <a:pt x="35897" y="118965"/>
                      <a:pt x="59487" y="118965"/>
                    </a:cubicBezTo>
                    <a:cubicBezTo>
                      <a:pt x="95384" y="118965"/>
                      <a:pt x="118974" y="95172"/>
                      <a:pt x="118974" y="58965"/>
                    </a:cubicBezTo>
                    <a:cubicBezTo>
                      <a:pt x="118974" y="23793"/>
                      <a:pt x="95384" y="0"/>
                      <a:pt x="59487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endParaRPr sz="1500"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</p:grpSp>
        <p:grpSp>
          <p:nvGrpSpPr>
            <p:cNvPr id="997" name="Shape 997"/>
            <p:cNvGrpSpPr/>
            <p:nvPr/>
          </p:nvGrpSpPr>
          <p:grpSpPr>
            <a:xfrm>
              <a:off x="5749906" y="1248050"/>
              <a:ext cx="600988" cy="540773"/>
              <a:chOff x="3280583" y="616062"/>
              <a:chExt cx="264900" cy="238359"/>
            </a:xfrm>
            <a:solidFill>
              <a:srgbClr val="FFFFFF"/>
            </a:solidFill>
          </p:grpSpPr>
          <p:sp>
            <p:nvSpPr>
              <p:cNvPr id="998" name="Shape 998"/>
              <p:cNvSpPr/>
              <p:nvPr/>
            </p:nvSpPr>
            <p:spPr>
              <a:xfrm>
                <a:off x="3293192" y="774922"/>
                <a:ext cx="238200" cy="7950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73293" y="19784"/>
                    </a:moveTo>
                    <a:lnTo>
                      <a:pt x="73293" y="19784"/>
                    </a:lnTo>
                    <a:cubicBezTo>
                      <a:pt x="46562" y="19784"/>
                      <a:pt x="46562" y="19784"/>
                      <a:pt x="46562" y="19784"/>
                    </a:cubicBezTo>
                    <a:cubicBezTo>
                      <a:pt x="46562" y="0"/>
                      <a:pt x="46562" y="0"/>
                      <a:pt x="4656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9569"/>
                      <a:pt x="0" y="79569"/>
                      <a:pt x="0" y="79569"/>
                    </a:cubicBezTo>
                    <a:cubicBezTo>
                      <a:pt x="0" y="99784"/>
                      <a:pt x="5029" y="119569"/>
                      <a:pt x="13365" y="119569"/>
                    </a:cubicBezTo>
                    <a:cubicBezTo>
                      <a:pt x="106491" y="119569"/>
                      <a:pt x="106491" y="119569"/>
                      <a:pt x="106491" y="119569"/>
                    </a:cubicBezTo>
                    <a:cubicBezTo>
                      <a:pt x="113101" y="119569"/>
                      <a:pt x="119856" y="99784"/>
                      <a:pt x="119856" y="79569"/>
                    </a:cubicBezTo>
                    <a:cubicBezTo>
                      <a:pt x="119856" y="0"/>
                      <a:pt x="119856" y="0"/>
                      <a:pt x="119856" y="0"/>
                    </a:cubicBezTo>
                    <a:cubicBezTo>
                      <a:pt x="73293" y="0"/>
                      <a:pt x="73293" y="0"/>
                      <a:pt x="73293" y="0"/>
                    </a:cubicBezTo>
                    <a:lnTo>
                      <a:pt x="73293" y="19784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endParaRPr sz="1500"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999" name="Shape 999"/>
              <p:cNvSpPr/>
              <p:nvPr/>
            </p:nvSpPr>
            <p:spPr>
              <a:xfrm>
                <a:off x="3280583" y="616062"/>
                <a:ext cx="264900" cy="14610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7831" y="43444"/>
                    </a:moveTo>
                    <a:lnTo>
                      <a:pt x="107831" y="43444"/>
                    </a:lnTo>
                    <a:cubicBezTo>
                      <a:pt x="83883" y="43444"/>
                      <a:pt x="83883" y="43444"/>
                      <a:pt x="83883" y="43444"/>
                    </a:cubicBezTo>
                    <a:cubicBezTo>
                      <a:pt x="83883" y="21839"/>
                      <a:pt x="83883" y="21839"/>
                      <a:pt x="83883" y="21839"/>
                    </a:cubicBezTo>
                    <a:cubicBezTo>
                      <a:pt x="71974" y="0"/>
                      <a:pt x="71974" y="0"/>
                      <a:pt x="71974" y="0"/>
                    </a:cubicBezTo>
                    <a:cubicBezTo>
                      <a:pt x="47896" y="0"/>
                      <a:pt x="47896" y="0"/>
                      <a:pt x="47896" y="0"/>
                    </a:cubicBezTo>
                    <a:cubicBezTo>
                      <a:pt x="35987" y="21839"/>
                      <a:pt x="35987" y="21839"/>
                      <a:pt x="35987" y="21839"/>
                    </a:cubicBezTo>
                    <a:cubicBezTo>
                      <a:pt x="35987" y="43444"/>
                      <a:pt x="35987" y="43444"/>
                      <a:pt x="35987" y="43444"/>
                    </a:cubicBezTo>
                    <a:cubicBezTo>
                      <a:pt x="11909" y="43444"/>
                      <a:pt x="11909" y="43444"/>
                      <a:pt x="11909" y="43444"/>
                    </a:cubicBezTo>
                    <a:cubicBezTo>
                      <a:pt x="4401" y="43444"/>
                      <a:pt x="0" y="51663"/>
                      <a:pt x="0" y="65283"/>
                    </a:cubicBezTo>
                    <a:cubicBezTo>
                      <a:pt x="0" y="97925"/>
                      <a:pt x="0" y="97925"/>
                      <a:pt x="0" y="97925"/>
                    </a:cubicBezTo>
                    <a:cubicBezTo>
                      <a:pt x="0" y="108727"/>
                      <a:pt x="4401" y="119765"/>
                      <a:pt x="11909" y="119765"/>
                    </a:cubicBezTo>
                    <a:cubicBezTo>
                      <a:pt x="47896" y="119765"/>
                      <a:pt x="47896" y="119765"/>
                      <a:pt x="47896" y="119765"/>
                    </a:cubicBezTo>
                    <a:cubicBezTo>
                      <a:pt x="47896" y="97925"/>
                      <a:pt x="47896" y="97925"/>
                      <a:pt x="47896" y="97925"/>
                    </a:cubicBezTo>
                    <a:cubicBezTo>
                      <a:pt x="71974" y="97925"/>
                      <a:pt x="71974" y="97925"/>
                      <a:pt x="71974" y="97925"/>
                    </a:cubicBezTo>
                    <a:cubicBezTo>
                      <a:pt x="71974" y="119765"/>
                      <a:pt x="71974" y="119765"/>
                      <a:pt x="71974" y="119765"/>
                    </a:cubicBezTo>
                    <a:cubicBezTo>
                      <a:pt x="107831" y="119765"/>
                      <a:pt x="107831" y="119765"/>
                      <a:pt x="107831" y="119765"/>
                    </a:cubicBezTo>
                    <a:cubicBezTo>
                      <a:pt x="113915" y="119765"/>
                      <a:pt x="119870" y="108727"/>
                      <a:pt x="119870" y="97925"/>
                    </a:cubicBezTo>
                    <a:cubicBezTo>
                      <a:pt x="119870" y="65283"/>
                      <a:pt x="119870" y="65283"/>
                      <a:pt x="119870" y="65283"/>
                    </a:cubicBezTo>
                    <a:cubicBezTo>
                      <a:pt x="119870" y="51663"/>
                      <a:pt x="113915" y="43444"/>
                      <a:pt x="107831" y="43444"/>
                    </a:cubicBezTo>
                    <a:close/>
                    <a:moveTo>
                      <a:pt x="71974" y="43444"/>
                    </a:moveTo>
                    <a:lnTo>
                      <a:pt x="71974" y="43444"/>
                    </a:lnTo>
                    <a:cubicBezTo>
                      <a:pt x="47896" y="43444"/>
                      <a:pt x="47896" y="43444"/>
                      <a:pt x="47896" y="43444"/>
                    </a:cubicBezTo>
                    <a:cubicBezTo>
                      <a:pt x="47896" y="21839"/>
                      <a:pt x="47896" y="21839"/>
                      <a:pt x="47896" y="21839"/>
                    </a:cubicBezTo>
                    <a:cubicBezTo>
                      <a:pt x="71974" y="21839"/>
                      <a:pt x="71974" y="21839"/>
                      <a:pt x="71974" y="21839"/>
                    </a:cubicBezTo>
                    <a:lnTo>
                      <a:pt x="71974" y="4344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endParaRPr sz="1500"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D25B522-2385-48B0-867E-3CC367781A48}"/>
                </a:ext>
              </a:extLst>
            </p:cNvPr>
            <p:cNvGrpSpPr/>
            <p:nvPr/>
          </p:nvGrpSpPr>
          <p:grpSpPr>
            <a:xfrm>
              <a:off x="1320144" y="1914900"/>
              <a:ext cx="6224663" cy="3000000"/>
              <a:chOff x="2369372" y="1914900"/>
              <a:chExt cx="4405256" cy="3000000"/>
            </a:xfrm>
          </p:grpSpPr>
          <p:sp>
            <p:nvSpPr>
              <p:cNvPr id="1003" name="Shape 1003"/>
              <p:cNvSpPr txBox="1"/>
              <p:nvPr/>
            </p:nvSpPr>
            <p:spPr>
              <a:xfrm>
                <a:off x="4582264" y="1914900"/>
                <a:ext cx="2192364" cy="300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180000" tIns="91425" rIns="180000" bIns="91425" anchor="t" anchorCtr="0">
                <a:noAutofit/>
              </a:bodyPr>
              <a:lstStyle/>
              <a:p>
                <a:pPr marR="5078" algn="ctr"/>
                <a:r>
                  <a:rPr lang="en-US" sz="1800" b="1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Industry Experts</a:t>
                </a:r>
              </a:p>
              <a:p>
                <a:pPr algn="ctr"/>
                <a:endParaRPr lang="en-AU" sz="1000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/>
                <a:r>
                  <a:rPr lang="en-US" sz="900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Network of subject matter experts were surveyed and interviewed to provide insight</a:t>
                </a:r>
              </a:p>
              <a:p>
                <a:pPr algn="ctr"/>
                <a:endParaRPr sz="600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/>
                <a:endParaRPr sz="600" b="1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/>
                <a:endParaRPr lang="en-US" sz="1200" b="1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/>
                <a:endParaRPr lang="en-US" sz="1200" b="1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/>
                <a:endParaRPr lang="en-US" sz="1200" b="1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/>
                <a:r>
                  <a:rPr lang="en-US" sz="1050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Co-founder of Expense Check</a:t>
                </a:r>
              </a:p>
              <a:p>
                <a:pPr algn="ctr"/>
                <a:r>
                  <a:rPr lang="en-US" sz="1050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Former </a:t>
                </a:r>
                <a:r>
                  <a:rPr lang="en-US" sz="1050" dirty="0" err="1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Wealthfront</a:t>
                </a:r>
                <a:r>
                  <a:rPr lang="en-US" sz="1050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 Executive</a:t>
                </a:r>
              </a:p>
              <a:p>
                <a:pPr algn="ctr"/>
                <a:r>
                  <a:rPr lang="en-US" sz="1050" dirty="0" err="1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Dobot</a:t>
                </a:r>
                <a:r>
                  <a:rPr lang="en-US" sz="1050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 Executive</a:t>
                </a:r>
              </a:p>
              <a:p>
                <a:pPr algn="ctr"/>
                <a:r>
                  <a:rPr lang="en-US" sz="1050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Former iSelect and </a:t>
                </a:r>
                <a:r>
                  <a:rPr lang="en-US" sz="1050" dirty="0" err="1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Comparethemarket</a:t>
                </a:r>
                <a:r>
                  <a:rPr lang="en-US" sz="1050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 Executive</a:t>
                </a:r>
                <a:endParaRPr sz="400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sp>
            <p:nvSpPr>
              <p:cNvPr id="1004" name="Shape 1004"/>
              <p:cNvSpPr txBox="1"/>
              <p:nvPr/>
            </p:nvSpPr>
            <p:spPr>
              <a:xfrm>
                <a:off x="2369372" y="1914900"/>
                <a:ext cx="2199299" cy="300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180000" tIns="91425" rIns="180000" bIns="91425" anchor="t" anchorCtr="0">
                <a:noAutofit/>
              </a:bodyPr>
              <a:lstStyle/>
              <a:p>
                <a:pPr marR="5078" algn="ctr"/>
                <a:r>
                  <a:rPr lang="en-US" sz="1800" b="1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Ethnographic Research</a:t>
                </a:r>
              </a:p>
              <a:p>
                <a:pPr algn="ctr"/>
                <a:endParaRPr sz="900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/>
                <a:r>
                  <a:rPr lang="en-US" sz="900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We focus on surfacing latent unmet needs that are critical in shaping new products and services</a:t>
                </a:r>
              </a:p>
              <a:p>
                <a:pPr algn="ctr"/>
                <a:endParaRPr sz="1000" b="1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>
                  <a:buClr>
                    <a:srgbClr val="000000"/>
                  </a:buClr>
                  <a:buFont typeface="Arial"/>
                  <a:buNone/>
                </a:pPr>
                <a:r>
                  <a:rPr lang="en-US" b="1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22 Consumers</a:t>
                </a:r>
              </a:p>
              <a:p>
                <a:pPr algn="ctr"/>
                <a:r>
                  <a:rPr lang="en-US" b="1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5 SMEs</a:t>
                </a:r>
              </a:p>
              <a:p>
                <a:pPr algn="ctr"/>
                <a:endParaRPr b="1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>
                  <a:buClr>
                    <a:srgbClr val="000000"/>
                  </a:buClr>
                  <a:buFont typeface="Arial"/>
                  <a:buNone/>
                </a:pPr>
                <a:r>
                  <a:rPr lang="en-US" b="1" dirty="0">
                    <a:solidFill>
                      <a:srgbClr val="FFFFFF"/>
                    </a:solidFill>
                    <a:latin typeface="Century Gothic"/>
                    <a:ea typeface="Century Gothic"/>
                    <a:cs typeface="Century Gothic"/>
                    <a:sym typeface="Century Gothic"/>
                  </a:rPr>
                  <a:t>40+ Hours Interviews</a:t>
                </a:r>
              </a:p>
              <a:p>
                <a:pPr algn="ctr"/>
                <a:endParaRPr sz="1000" b="1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pPr algn="ctr"/>
                <a:endParaRPr sz="1000" b="1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  <a:p>
                <a:endParaRPr sz="1000" dirty="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endParaRPr>
              </a:p>
            </p:txBody>
          </p:sp>
          <p:cxnSp>
            <p:nvCxnSpPr>
              <p:cNvPr id="1006" name="Shape 1006"/>
              <p:cNvCxnSpPr>
                <a:cxnSpLocks/>
              </p:cNvCxnSpPr>
              <p:nvPr/>
            </p:nvCxnSpPr>
            <p:spPr>
              <a:xfrm>
                <a:off x="5143422" y="3310102"/>
                <a:ext cx="11472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bg1"/>
                </a:solidFill>
                <a:prstDash val="solid"/>
                <a:round/>
                <a:headEnd type="none" w="lg" len="lg"/>
                <a:tailEnd type="none" w="lg" len="lg"/>
              </a:ln>
            </p:spPr>
          </p:cxnSp>
          <p:cxnSp>
            <p:nvCxnSpPr>
              <p:cNvPr id="1007" name="Shape 1007"/>
              <p:cNvCxnSpPr>
                <a:cxnSpLocks/>
              </p:cNvCxnSpPr>
              <p:nvPr/>
            </p:nvCxnSpPr>
            <p:spPr>
              <a:xfrm>
                <a:off x="2903900" y="3310102"/>
                <a:ext cx="11472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bg1"/>
                </a:solidFill>
                <a:prstDash val="solid"/>
                <a:round/>
                <a:headEnd type="none" w="lg" len="lg"/>
                <a:tailEnd type="none" w="lg" len="lg"/>
              </a:ln>
            </p:spPr>
          </p:cxnSp>
        </p:grp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24BB4F6-A551-4590-811A-A48CF7748603}"/>
              </a:ext>
            </a:extLst>
          </p:cNvPr>
          <p:cNvSpPr/>
          <p:nvPr/>
        </p:nvSpPr>
        <p:spPr>
          <a:xfrm>
            <a:off x="0" y="0"/>
            <a:ext cx="887896" cy="262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/>
              <a:t>Do not edit</a:t>
            </a:r>
          </a:p>
        </p:txBody>
      </p:sp>
    </p:spTree>
    <p:extLst>
      <p:ext uri="{BB962C8B-B14F-4D97-AF65-F5344CB8AC3E}">
        <p14:creationId xmlns:p14="http://schemas.microsoft.com/office/powerpoint/2010/main" val="1790734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" name="Shape 1088"/>
          <p:cNvSpPr/>
          <p:nvPr/>
        </p:nvSpPr>
        <p:spPr>
          <a:xfrm>
            <a:off x="0" y="0"/>
            <a:ext cx="8817300" cy="5143500"/>
          </a:xfrm>
          <a:prstGeom prst="rect">
            <a:avLst/>
          </a:prstGeom>
          <a:gradFill>
            <a:gsLst>
              <a:gs pos="0">
                <a:srgbClr val="4F6797"/>
              </a:gs>
              <a:gs pos="100000">
                <a:srgbClr val="3A285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1089" name="Shape 1089"/>
          <p:cNvSpPr/>
          <p:nvPr/>
        </p:nvSpPr>
        <p:spPr>
          <a:xfrm flipH="1">
            <a:off x="8070" y="0"/>
            <a:ext cx="8817300" cy="5143500"/>
          </a:xfrm>
          <a:prstGeom prst="rtTriangle">
            <a:avLst/>
          </a:prstGeom>
          <a:gradFill>
            <a:gsLst>
              <a:gs pos="0">
                <a:srgbClr val="4F6797"/>
              </a:gs>
              <a:gs pos="100000">
                <a:srgbClr val="3A285F"/>
              </a:gs>
            </a:gsLst>
            <a:lin ang="5400012" scaled="0"/>
          </a:gra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1095" name="Shape 1095"/>
          <p:cNvSpPr txBox="1">
            <a:spLocks noGrp="1"/>
          </p:cNvSpPr>
          <p:nvPr>
            <p:ph type="body" idx="2"/>
          </p:nvPr>
        </p:nvSpPr>
        <p:spPr>
          <a:xfrm>
            <a:off x="328149" y="2336124"/>
            <a:ext cx="5044895" cy="1430399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3500" b="1" dirty="0" err="1">
                <a:solidFill>
                  <a:schemeClr val="lt1"/>
                </a:solidFill>
              </a:rPr>
              <a:t>Rentlord</a:t>
            </a:r>
            <a:r>
              <a:rPr lang="en-US" sz="3500" b="1" dirty="0">
                <a:solidFill>
                  <a:schemeClr val="lt1"/>
                </a:solidFill>
              </a:rPr>
              <a:t>  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sz="1400" dirty="0">
                <a:solidFill>
                  <a:schemeClr val="lt1"/>
                </a:solidFill>
              </a:rPr>
              <a:t>Digital property management suite</a:t>
            </a:r>
          </a:p>
        </p:txBody>
      </p:sp>
      <p:pic>
        <p:nvPicPr>
          <p:cNvPr id="1099" name="Shape 109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59550" y="1395325"/>
            <a:ext cx="878099" cy="878099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6B936BB-133E-4A86-B528-8B483D6DE0DE}"/>
              </a:ext>
            </a:extLst>
          </p:cNvPr>
          <p:cNvSpPr/>
          <p:nvPr/>
        </p:nvSpPr>
        <p:spPr>
          <a:xfrm>
            <a:off x="0" y="0"/>
            <a:ext cx="887896" cy="262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/>
              <a:t>Do not edit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" name="Shape 1105"/>
          <p:cNvSpPr txBox="1">
            <a:spLocks noGrp="1"/>
          </p:cNvSpPr>
          <p:nvPr>
            <p:ph type="body" idx="2"/>
          </p:nvPr>
        </p:nvSpPr>
        <p:spPr>
          <a:xfrm>
            <a:off x="328150" y="1132825"/>
            <a:ext cx="3849900" cy="2111400"/>
          </a:xfrm>
          <a:prstGeom prst="rect">
            <a:avLst/>
          </a:prstGeom>
          <a:solidFill>
            <a:schemeClr val="accent4"/>
          </a:solidFill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sz="3000" b="1">
              <a:solidFill>
                <a:srgbClr val="FFFFFF"/>
              </a:solidFill>
            </a:endParaRPr>
          </a:p>
          <a:p>
            <a:pPr lvl="0" rtl="0">
              <a:spcBef>
                <a:spcPts val="0"/>
              </a:spcBef>
              <a:buClr>
                <a:schemeClr val="dk1"/>
              </a:buClr>
              <a:buSzPct val="61111"/>
              <a:buFont typeface="Arial"/>
              <a:buNone/>
            </a:pPr>
            <a:r>
              <a:rPr lang="en-US" sz="1800" b="1">
                <a:solidFill>
                  <a:srgbClr val="FFFFFF"/>
                </a:solidFill>
              </a:rPr>
              <a:t>Tenants suffer from inefficiencies in coordinating service providers 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en-US">
                <a:solidFill>
                  <a:srgbClr val="FFFFFF"/>
                </a:solidFill>
              </a:rPr>
              <a:t>Organising to have maintenance issues fixed can be timely and frustrating for tenants and service providers who have to go through a rental property manager.</a:t>
            </a:r>
          </a:p>
        </p:txBody>
      </p:sp>
      <p:sp>
        <p:nvSpPr>
          <p:cNvPr id="1106" name="Shape 1106"/>
          <p:cNvSpPr txBox="1">
            <a:spLocks noGrp="1"/>
          </p:cNvSpPr>
          <p:nvPr>
            <p:ph type="title"/>
          </p:nvPr>
        </p:nvSpPr>
        <p:spPr>
          <a:xfrm>
            <a:off x="328141" y="262405"/>
            <a:ext cx="8136300" cy="8574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/>
              <a:t>Frictions</a:t>
            </a:r>
          </a:p>
        </p:txBody>
      </p:sp>
      <p:sp>
        <p:nvSpPr>
          <p:cNvPr id="1108" name="Shape 1108"/>
          <p:cNvSpPr/>
          <p:nvPr/>
        </p:nvSpPr>
        <p:spPr>
          <a:xfrm>
            <a:off x="328150" y="4362775"/>
            <a:ext cx="1118400" cy="349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l" rtl="0">
              <a:spcBef>
                <a:spcPts val="0"/>
              </a:spcBef>
              <a:buNone/>
            </a:pPr>
            <a:r>
              <a:rPr lang="en-US" sz="11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ay</a:t>
            </a:r>
          </a:p>
        </p:txBody>
      </p:sp>
      <p:sp>
        <p:nvSpPr>
          <p:cNvPr id="1109" name="Shape 1109"/>
          <p:cNvSpPr txBox="1">
            <a:spLocks noGrp="1"/>
          </p:cNvSpPr>
          <p:nvPr>
            <p:ph type="body" idx="2"/>
          </p:nvPr>
        </p:nvSpPr>
        <p:spPr>
          <a:xfrm>
            <a:off x="1446550" y="3244350"/>
            <a:ext cx="2731800" cy="1468200"/>
          </a:xfrm>
          <a:prstGeom prst="rect">
            <a:avLst/>
          </a:prstGeom>
          <a:solidFill>
            <a:schemeClr val="lt2"/>
          </a:solidFill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1000" i="1"/>
              <a:t>“I had a problem with our dryer but I had to wait two weeks before I was able to get confirmation from the real estate agent to get it replaced.”</a:t>
            </a:r>
          </a:p>
        </p:txBody>
      </p:sp>
      <p:pic>
        <p:nvPicPr>
          <p:cNvPr id="1110" name="Shape 1110" descr="Ray.jpeg"/>
          <p:cNvPicPr preferRelativeResize="0"/>
          <p:nvPr/>
        </p:nvPicPr>
        <p:blipFill rotWithShape="1">
          <a:blip r:embed="rId3">
            <a:alphaModFix/>
          </a:blip>
          <a:srcRect t="11185" b="11193"/>
          <a:stretch/>
        </p:blipFill>
        <p:spPr>
          <a:xfrm>
            <a:off x="328150" y="3244349"/>
            <a:ext cx="1118403" cy="113797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1" name="Shape 111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49475" y="1248876"/>
            <a:ext cx="455075" cy="455075"/>
          </a:xfrm>
          <a:prstGeom prst="rect">
            <a:avLst/>
          </a:prstGeom>
          <a:noFill/>
          <a:ln>
            <a:noFill/>
          </a:ln>
        </p:spPr>
      </p:pic>
      <p:sp>
        <p:nvSpPr>
          <p:cNvPr id="1112" name="Shape 1112"/>
          <p:cNvSpPr txBox="1">
            <a:spLocks noGrp="1"/>
          </p:cNvSpPr>
          <p:nvPr>
            <p:ph type="body" idx="2"/>
          </p:nvPr>
        </p:nvSpPr>
        <p:spPr>
          <a:xfrm>
            <a:off x="4614250" y="1132825"/>
            <a:ext cx="3849900" cy="2111400"/>
          </a:xfrm>
          <a:prstGeom prst="rect">
            <a:avLst/>
          </a:prstGeom>
          <a:solidFill>
            <a:schemeClr val="accent4"/>
          </a:solidFill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sz="3000" b="1">
              <a:solidFill>
                <a:srgbClr val="FFFFFF"/>
              </a:solidFill>
            </a:endParaRPr>
          </a:p>
          <a:p>
            <a:pPr lvl="0" rtl="0">
              <a:spcBef>
                <a:spcPts val="0"/>
              </a:spcBef>
              <a:buNone/>
            </a:pPr>
            <a:r>
              <a:rPr lang="en-US" sz="1800" b="1">
                <a:solidFill>
                  <a:srgbClr val="FFFFFF"/>
                </a:solidFill>
              </a:rPr>
              <a:t>Landlords question the value &amp; cost of Property Managers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en-US">
                <a:solidFill>
                  <a:srgbClr val="FFFFFF"/>
                </a:solidFill>
              </a:rPr>
              <a:t>Landlords outsource property management for convenience and assurance of quality of care; however they are often left questioning whether their interests are being put first.</a:t>
            </a:r>
          </a:p>
        </p:txBody>
      </p:sp>
      <p:sp>
        <p:nvSpPr>
          <p:cNvPr id="1113" name="Shape 1113"/>
          <p:cNvSpPr/>
          <p:nvPr/>
        </p:nvSpPr>
        <p:spPr>
          <a:xfrm>
            <a:off x="4614250" y="4362775"/>
            <a:ext cx="1118400" cy="349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l" rtl="0">
              <a:spcBef>
                <a:spcPts val="0"/>
              </a:spcBef>
              <a:buNone/>
            </a:pPr>
            <a:r>
              <a:rPr lang="en-US" sz="11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hun</a:t>
            </a:r>
          </a:p>
        </p:txBody>
      </p:sp>
      <p:sp>
        <p:nvSpPr>
          <p:cNvPr id="1114" name="Shape 1114"/>
          <p:cNvSpPr txBox="1">
            <a:spLocks noGrp="1"/>
          </p:cNvSpPr>
          <p:nvPr>
            <p:ph type="body" idx="2"/>
          </p:nvPr>
        </p:nvSpPr>
        <p:spPr>
          <a:xfrm>
            <a:off x="5732650" y="3244350"/>
            <a:ext cx="2731799" cy="1468200"/>
          </a:xfrm>
          <a:prstGeom prst="rect">
            <a:avLst/>
          </a:prstGeom>
          <a:solidFill>
            <a:schemeClr val="lt2"/>
          </a:solidFill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1000" i="1"/>
              <a:t>“I don’t trust the real estate agent. They seem to be getting the tradies who give them the best deal but not necessarily what’s best for me”</a:t>
            </a:r>
          </a:p>
        </p:txBody>
      </p:sp>
      <p:pic>
        <p:nvPicPr>
          <p:cNvPr id="1115" name="Shape 1115" descr="OML_Ruchir"/>
          <p:cNvPicPr preferRelativeResize="0"/>
          <p:nvPr/>
        </p:nvPicPr>
        <p:blipFill rotWithShape="1">
          <a:blip r:embed="rId5">
            <a:alphaModFix/>
          </a:blip>
          <a:srcRect l="8332" r="16671"/>
          <a:stretch/>
        </p:blipFill>
        <p:spPr>
          <a:xfrm>
            <a:off x="4614251" y="3244351"/>
            <a:ext cx="1118402" cy="11184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6" name="Shape 111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735575" y="1248876"/>
            <a:ext cx="455075" cy="45507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8F3FC68-135F-4E01-A654-60C23B0A3FE2}"/>
              </a:ext>
            </a:extLst>
          </p:cNvPr>
          <p:cNvSpPr/>
          <p:nvPr/>
        </p:nvSpPr>
        <p:spPr>
          <a:xfrm>
            <a:off x="0" y="0"/>
            <a:ext cx="887896" cy="262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/>
              <a:t>Do not edi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19E285-88BD-4A3C-B341-C75A31DEDDFD}"/>
              </a:ext>
            </a:extLst>
          </p:cNvPr>
          <p:cNvSpPr/>
          <p:nvPr/>
        </p:nvSpPr>
        <p:spPr>
          <a:xfrm>
            <a:off x="9204425" y="0"/>
            <a:ext cx="2192177" cy="5143575"/>
          </a:xfrm>
          <a:prstGeom prst="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50" b="1" dirty="0">
                <a:solidFill>
                  <a:schemeClr val="tx1"/>
                </a:solidFill>
              </a:rPr>
              <a:t>Voiceover</a:t>
            </a:r>
          </a:p>
          <a:p>
            <a:endParaRPr lang="en-AU" sz="900" dirty="0">
              <a:solidFill>
                <a:schemeClr val="tx1"/>
              </a:solidFill>
            </a:endParaRPr>
          </a:p>
          <a:p>
            <a:pPr marL="228600" indent="-228600">
              <a:buAutoNum type="arabicPeriod"/>
            </a:pPr>
            <a:r>
              <a:rPr lang="en-AU" sz="900" b="1" dirty="0">
                <a:solidFill>
                  <a:schemeClr val="tx1"/>
                </a:solidFill>
              </a:rPr>
              <a:t>Administration burden across Tenants</a:t>
            </a:r>
            <a:r>
              <a:rPr lang="en-AU" sz="900" dirty="0">
                <a:solidFill>
                  <a:schemeClr val="tx1"/>
                </a:solidFill>
              </a:rPr>
              <a:t>: Tenants within a share house can find it challenging to track, split, pay and reconcile household expenses such as bills and rent.</a:t>
            </a:r>
          </a:p>
          <a:p>
            <a:pPr marL="228600" indent="-228600">
              <a:buAutoNum type="arabicPeriod"/>
            </a:pPr>
            <a:r>
              <a:rPr lang="en-AU" sz="900" b="1" dirty="0">
                <a:solidFill>
                  <a:schemeClr val="tx1"/>
                </a:solidFill>
              </a:rPr>
              <a:t>Creation of conflict and disputes</a:t>
            </a:r>
            <a:r>
              <a:rPr lang="en-AU" sz="900" dirty="0">
                <a:solidFill>
                  <a:schemeClr val="tx1"/>
                </a:solidFill>
              </a:rPr>
              <a:t>: The responsibility of managing people and money is often left with one person to coordinate; and can easily lead to conflict and divide between tenants if misalignment arises</a:t>
            </a:r>
          </a:p>
          <a:p>
            <a:endParaRPr lang="en-AU" sz="1050" dirty="0">
              <a:solidFill>
                <a:schemeClr val="tx1"/>
              </a:solidFill>
            </a:endParaRPr>
          </a:p>
          <a:p>
            <a:endParaRPr lang="en-AU" sz="1050" dirty="0">
              <a:solidFill>
                <a:schemeClr val="tx1"/>
              </a:solidFill>
            </a:endParaRPr>
          </a:p>
          <a:p>
            <a:endParaRPr lang="en-AU" sz="1050" dirty="0">
              <a:solidFill>
                <a:schemeClr val="tx1"/>
              </a:solidFill>
            </a:endParaRPr>
          </a:p>
          <a:p>
            <a:endParaRPr lang="en-US" sz="1050" dirty="0">
              <a:solidFill>
                <a:schemeClr val="tx1"/>
              </a:solidFill>
            </a:endParaRPr>
          </a:p>
          <a:p>
            <a:endParaRPr lang="en-US" sz="105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88"/>
          <p:cNvSpPr/>
          <p:nvPr/>
        </p:nvSpPr>
        <p:spPr>
          <a:xfrm>
            <a:off x="0" y="0"/>
            <a:ext cx="8817300" cy="5143500"/>
          </a:xfrm>
          <a:prstGeom prst="rect">
            <a:avLst/>
          </a:prstGeom>
          <a:gradFill>
            <a:gsLst>
              <a:gs pos="0">
                <a:srgbClr val="4F6797"/>
              </a:gs>
              <a:gs pos="100000">
                <a:srgbClr val="3A285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11" name="Shape 1089"/>
          <p:cNvSpPr/>
          <p:nvPr/>
        </p:nvSpPr>
        <p:spPr>
          <a:xfrm flipH="1">
            <a:off x="8070" y="0"/>
            <a:ext cx="8817300" cy="5143500"/>
          </a:xfrm>
          <a:prstGeom prst="rtTriangle">
            <a:avLst/>
          </a:prstGeom>
          <a:gradFill>
            <a:gsLst>
              <a:gs pos="0">
                <a:srgbClr val="4F6797"/>
              </a:gs>
              <a:gs pos="100000">
                <a:srgbClr val="3A285F"/>
              </a:gs>
            </a:gsLst>
            <a:lin ang="5400012" scaled="0"/>
          </a:gra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1137" name="Shape 1137"/>
          <p:cNvSpPr txBox="1"/>
          <p:nvPr/>
        </p:nvSpPr>
        <p:spPr>
          <a:xfrm>
            <a:off x="3880600" y="1816100"/>
            <a:ext cx="4511700" cy="1011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Clr>
                <a:schemeClr val="dk1"/>
              </a:buClr>
              <a:buSzPct val="31428"/>
              <a:buFont typeface="Arial"/>
              <a:buNone/>
            </a:pPr>
            <a:r>
              <a:rPr lang="en-US" sz="35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ntlord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r>
              <a:rPr lang="en-US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igital property management suite</a:t>
            </a:r>
          </a:p>
          <a:p>
            <a:pPr lvl="0" rtl="0">
              <a:spcBef>
                <a:spcPts val="0"/>
              </a:spcBef>
              <a:buNone/>
            </a:pPr>
            <a:endParaRPr sz="3500" b="1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38" name="Shape 1138"/>
          <p:cNvSpPr txBox="1"/>
          <p:nvPr/>
        </p:nvSpPr>
        <p:spPr>
          <a:xfrm>
            <a:off x="3880600" y="2979700"/>
            <a:ext cx="4449300" cy="15465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200"/>
              </a:spcBef>
              <a:buClr>
                <a:schemeClr val="dk1"/>
              </a:buClr>
              <a:buFont typeface="Arial"/>
              <a:buNone/>
            </a:pPr>
            <a:r>
              <a:rPr lang="en-US" dirty="0" err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ntlord</a:t>
            </a:r>
            <a:r>
              <a:rPr lang="en-US" dirty="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is a platform that offers Landlords a suite of property management services to reduce or remove their reliance on traditional Property Managers.</a:t>
            </a:r>
          </a:p>
        </p:txBody>
      </p:sp>
      <p:pic>
        <p:nvPicPr>
          <p:cNvPr id="1139" name="Shape 1139"/>
          <p:cNvPicPr preferRelativeResize="0"/>
          <p:nvPr/>
        </p:nvPicPr>
        <p:blipFill rotWithShape="1">
          <a:blip r:embed="rId3">
            <a:alphaModFix/>
          </a:blip>
          <a:srcRect l="28620" t="7162" r="28624" b="7162"/>
          <a:stretch/>
        </p:blipFill>
        <p:spPr>
          <a:xfrm>
            <a:off x="997850" y="363999"/>
            <a:ext cx="2203500" cy="44154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0" name="Shape 1140" descr="BCGDV-SubZero-IS1-Rentlord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192545" y="971550"/>
            <a:ext cx="1799325" cy="32003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1" name="Shape 114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977675" y="786000"/>
            <a:ext cx="878099" cy="87809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1DBE875-750B-4854-8177-4113C3C046EB}"/>
              </a:ext>
            </a:extLst>
          </p:cNvPr>
          <p:cNvSpPr/>
          <p:nvPr/>
        </p:nvSpPr>
        <p:spPr>
          <a:xfrm>
            <a:off x="0" y="0"/>
            <a:ext cx="887896" cy="262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/>
              <a:t>Do not edit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088"/>
          <p:cNvSpPr/>
          <p:nvPr/>
        </p:nvSpPr>
        <p:spPr>
          <a:xfrm>
            <a:off x="0" y="0"/>
            <a:ext cx="8817300" cy="5143500"/>
          </a:xfrm>
          <a:prstGeom prst="rect">
            <a:avLst/>
          </a:prstGeom>
          <a:gradFill>
            <a:gsLst>
              <a:gs pos="0">
                <a:srgbClr val="4F6797"/>
              </a:gs>
              <a:gs pos="100000">
                <a:srgbClr val="3A285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12" name="Shape 1089"/>
          <p:cNvSpPr/>
          <p:nvPr/>
        </p:nvSpPr>
        <p:spPr>
          <a:xfrm flipH="1">
            <a:off x="8070" y="0"/>
            <a:ext cx="8817300" cy="5143500"/>
          </a:xfrm>
          <a:prstGeom prst="rtTriangle">
            <a:avLst/>
          </a:prstGeom>
          <a:gradFill>
            <a:gsLst>
              <a:gs pos="0">
                <a:srgbClr val="4F6797"/>
              </a:gs>
              <a:gs pos="100000">
                <a:srgbClr val="3A285F"/>
              </a:gs>
            </a:gsLst>
            <a:lin ang="5400012" scaled="0"/>
          </a:gra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pic>
        <p:nvPicPr>
          <p:cNvPr id="1153" name="Shape 115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0154" y="1320912"/>
            <a:ext cx="735924" cy="7359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4" name="Shape 115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950825" y="1283900"/>
            <a:ext cx="772925" cy="772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5" name="Shape 115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819725" y="1302399"/>
            <a:ext cx="735924" cy="735924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Shape 938">
            <a:extLst>
              <a:ext uri="{FF2B5EF4-FFF2-40B4-BE49-F238E27FC236}">
                <a16:creationId xmlns:a16="http://schemas.microsoft.com/office/drawing/2014/main" id="{6FF16F67-CCCC-4C65-A2DB-BD38B3B9DA71}"/>
              </a:ext>
            </a:extLst>
          </p:cNvPr>
          <p:cNvSpPr txBox="1"/>
          <p:nvPr/>
        </p:nvSpPr>
        <p:spPr>
          <a:xfrm>
            <a:off x="328151" y="2213272"/>
            <a:ext cx="2651692" cy="85949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/>
            <a:r>
              <a:rPr lang="en-US" sz="1800" b="1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mart Payments &amp;  Administration  </a:t>
            </a:r>
          </a:p>
        </p:txBody>
      </p:sp>
      <p:sp>
        <p:nvSpPr>
          <p:cNvPr id="21" name="Shape 939">
            <a:extLst>
              <a:ext uri="{FF2B5EF4-FFF2-40B4-BE49-F238E27FC236}">
                <a16:creationId xmlns:a16="http://schemas.microsoft.com/office/drawing/2014/main" id="{88DC84DD-3440-41CC-92C3-189BAF2F8B37}"/>
              </a:ext>
            </a:extLst>
          </p:cNvPr>
          <p:cNvSpPr txBox="1"/>
          <p:nvPr/>
        </p:nvSpPr>
        <p:spPr>
          <a:xfrm>
            <a:off x="328150" y="2726340"/>
            <a:ext cx="2651692" cy="12195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/>
            <a:endParaRPr lang="en-US" sz="1200" dirty="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lvl="0"/>
            <a:r>
              <a:rPr lang="en-US" sz="1200" dirty="0" err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ntLord</a:t>
            </a:r>
            <a:r>
              <a:rPr lang="en-US" sz="12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provides Landlords with a </a:t>
            </a:r>
            <a:r>
              <a:rPr lang="en-US" sz="1200" dirty="0" err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entralised</a:t>
            </a:r>
            <a:r>
              <a:rPr lang="en-US" sz="12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location to manage and conduct their end to end property financial management and administration</a:t>
            </a:r>
          </a:p>
          <a:p>
            <a:pPr lvl="0"/>
            <a:br>
              <a:rPr lang="en-US" sz="12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</a:br>
            <a:endParaRPr lang="en-US" sz="1200" dirty="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" name="Shape 938">
            <a:extLst>
              <a:ext uri="{FF2B5EF4-FFF2-40B4-BE49-F238E27FC236}">
                <a16:creationId xmlns:a16="http://schemas.microsoft.com/office/drawing/2014/main" id="{50B33228-3445-4D5D-A813-5C77114DED81}"/>
              </a:ext>
            </a:extLst>
          </p:cNvPr>
          <p:cNvSpPr txBox="1"/>
          <p:nvPr/>
        </p:nvSpPr>
        <p:spPr>
          <a:xfrm>
            <a:off x="2979844" y="2215365"/>
            <a:ext cx="2559565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treamlined Request 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anagement   </a:t>
            </a:r>
          </a:p>
        </p:txBody>
      </p:sp>
      <p:sp>
        <p:nvSpPr>
          <p:cNvPr id="23" name="Shape 939">
            <a:extLst>
              <a:ext uri="{FF2B5EF4-FFF2-40B4-BE49-F238E27FC236}">
                <a16:creationId xmlns:a16="http://schemas.microsoft.com/office/drawing/2014/main" id="{AD33780D-5BEE-4D15-8417-3766DE02FB5A}"/>
              </a:ext>
            </a:extLst>
          </p:cNvPr>
          <p:cNvSpPr txBox="1"/>
          <p:nvPr/>
        </p:nvSpPr>
        <p:spPr>
          <a:xfrm>
            <a:off x="2979843" y="2726340"/>
            <a:ext cx="2559566" cy="12195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/>
            <a:br>
              <a:rPr lang="en-US" sz="12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lang="en-US" sz="1200" dirty="0" err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ntLord</a:t>
            </a:r>
            <a:r>
              <a:rPr lang="en-US" sz="12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lang="en-US" sz="1200" dirty="0" err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optimises</a:t>
            </a:r>
            <a:r>
              <a:rPr lang="en-US" sz="12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the management of requests by assigning tasks and actions to the appropriate stakeholder, generating faster results and a positive experience</a:t>
            </a:r>
          </a:p>
        </p:txBody>
      </p:sp>
      <p:sp>
        <p:nvSpPr>
          <p:cNvPr id="24" name="Shape 938">
            <a:extLst>
              <a:ext uri="{FF2B5EF4-FFF2-40B4-BE49-F238E27FC236}">
                <a16:creationId xmlns:a16="http://schemas.microsoft.com/office/drawing/2014/main" id="{7892E602-A234-4AE7-9906-349EF33671F0}"/>
              </a:ext>
            </a:extLst>
          </p:cNvPr>
          <p:cNvSpPr txBox="1"/>
          <p:nvPr/>
        </p:nvSpPr>
        <p:spPr>
          <a:xfrm>
            <a:off x="5802251" y="2215365"/>
            <a:ext cx="2559565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ntelligent Listing</a:t>
            </a:r>
          </a:p>
        </p:txBody>
      </p:sp>
      <p:sp>
        <p:nvSpPr>
          <p:cNvPr id="25" name="Shape 939">
            <a:extLst>
              <a:ext uri="{FF2B5EF4-FFF2-40B4-BE49-F238E27FC236}">
                <a16:creationId xmlns:a16="http://schemas.microsoft.com/office/drawing/2014/main" id="{9B1DB9B3-A657-4B3B-B893-62DC423FDDFF}"/>
              </a:ext>
            </a:extLst>
          </p:cNvPr>
          <p:cNvSpPr txBox="1"/>
          <p:nvPr/>
        </p:nvSpPr>
        <p:spPr>
          <a:xfrm>
            <a:off x="5802250" y="2726340"/>
            <a:ext cx="2559566" cy="12195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/>
            <a:br>
              <a:rPr lang="en-US" sz="12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lang="en-US" sz="1200" dirty="0" err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ntlord</a:t>
            </a:r>
            <a:r>
              <a:rPr lang="en-US" sz="12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facilitates the listing process by providing Landlords with listing expertise and support.  Property listings are automatically published to multiple digital channels, </a:t>
            </a:r>
            <a:r>
              <a:rPr lang="en-US" sz="1200" dirty="0" err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aximising</a:t>
            </a:r>
            <a:r>
              <a:rPr lang="en-US" sz="12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market exposur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33F6D93-F878-4096-BBB4-3433A801CA8C}"/>
              </a:ext>
            </a:extLst>
          </p:cNvPr>
          <p:cNvSpPr/>
          <p:nvPr/>
        </p:nvSpPr>
        <p:spPr>
          <a:xfrm>
            <a:off x="0" y="0"/>
            <a:ext cx="887896" cy="262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/>
              <a:t>Do not edit</a:t>
            </a:r>
          </a:p>
        </p:txBody>
      </p:sp>
    </p:spTree>
    <p:extLst>
      <p:ext uri="{BB962C8B-B14F-4D97-AF65-F5344CB8AC3E}">
        <p14:creationId xmlns:p14="http://schemas.microsoft.com/office/powerpoint/2010/main" val="4005866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2E716D-54B3-4135-8FB8-B5E18EF224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604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1" name="Shape 1161"/>
          <p:cNvSpPr/>
          <p:nvPr/>
        </p:nvSpPr>
        <p:spPr>
          <a:xfrm>
            <a:off x="376854" y="1644089"/>
            <a:ext cx="2628300" cy="2628299"/>
          </a:xfrm>
          <a:prstGeom prst="ellipse">
            <a:avLst/>
          </a:prstGeom>
          <a:solidFill>
            <a:srgbClr val="EFEFEF"/>
          </a:solidFill>
          <a:ln>
            <a:noFill/>
          </a:ln>
        </p:spPr>
        <p:txBody>
          <a:bodyPr wrap="square" lIns="91425" tIns="45725" rIns="91425" bIns="457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5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62" name="Shape 1162"/>
          <p:cNvSpPr/>
          <p:nvPr/>
        </p:nvSpPr>
        <p:spPr>
          <a:xfrm>
            <a:off x="715708" y="2376701"/>
            <a:ext cx="1950600" cy="1895699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45725" rIns="91425" bIns="457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500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63" name="Shape 1163"/>
          <p:cNvSpPr/>
          <p:nvPr/>
        </p:nvSpPr>
        <p:spPr>
          <a:xfrm>
            <a:off x="5282325" y="3675"/>
            <a:ext cx="3534900" cy="513990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wrap="square" lIns="91425" tIns="45725" rIns="91425" bIns="457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65" name="Shape 1165"/>
          <p:cNvSpPr txBox="1">
            <a:spLocks noGrp="1"/>
          </p:cNvSpPr>
          <p:nvPr>
            <p:ph type="title"/>
          </p:nvPr>
        </p:nvSpPr>
        <p:spPr>
          <a:xfrm>
            <a:off x="328146" y="262400"/>
            <a:ext cx="4902900" cy="8574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>
                <a:solidFill>
                  <a:schemeClr val="accent1"/>
                </a:solidFill>
              </a:rPr>
              <a:t>Market Opportunity</a:t>
            </a:r>
          </a:p>
        </p:txBody>
      </p:sp>
      <p:sp>
        <p:nvSpPr>
          <p:cNvPr id="1166" name="Shape 1166"/>
          <p:cNvSpPr txBox="1"/>
          <p:nvPr/>
        </p:nvSpPr>
        <p:spPr>
          <a:xfrm>
            <a:off x="3296850" y="1678845"/>
            <a:ext cx="1853700" cy="74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25" rIns="91425" bIns="457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b="1" dirty="0">
                <a:latin typeface="Century Gothic"/>
                <a:ea typeface="Century Gothic"/>
                <a:cs typeface="Century Gothic"/>
                <a:sym typeface="Century Gothic"/>
              </a:rPr>
              <a:t>Total Market 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0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ustralian homes with a landlord </a:t>
            </a:r>
          </a:p>
        </p:txBody>
      </p:sp>
      <p:sp>
        <p:nvSpPr>
          <p:cNvPr id="1167" name="Shape 1167"/>
          <p:cNvSpPr txBox="1"/>
          <p:nvPr/>
        </p:nvSpPr>
        <p:spPr>
          <a:xfrm>
            <a:off x="3274775" y="2686650"/>
            <a:ext cx="1853700" cy="886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25" rIns="91425" bIns="457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b="1" dirty="0">
                <a:latin typeface="Century Gothic"/>
                <a:ea typeface="Century Gothic"/>
                <a:cs typeface="Century Gothic"/>
                <a:sym typeface="Century Gothic"/>
              </a:rPr>
              <a:t>Addressable Market - </a:t>
            </a:r>
            <a:r>
              <a:rPr lang="en-US" sz="1000" dirty="0">
                <a:latin typeface="Century Gothic"/>
                <a:ea typeface="Century Gothic"/>
                <a:cs typeface="Century Gothic"/>
                <a:sym typeface="Century Gothic"/>
              </a:rPr>
              <a:t>Landlords who self manage properties</a:t>
            </a:r>
            <a:endParaRPr lang="en-US" sz="1200" dirty="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68" name="Shape 1168"/>
          <p:cNvSpPr txBox="1"/>
          <p:nvPr/>
        </p:nvSpPr>
        <p:spPr>
          <a:xfrm>
            <a:off x="3274775" y="3766225"/>
            <a:ext cx="2007600" cy="74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25" rIns="91425" bIns="457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b="1" dirty="0">
                <a:latin typeface="Century Gothic"/>
                <a:ea typeface="Century Gothic"/>
                <a:cs typeface="Century Gothic"/>
                <a:sym typeface="Century Gothic"/>
              </a:rPr>
              <a:t>Share of Market </a:t>
            </a:r>
            <a:r>
              <a:rPr lang="en-US" sz="1200" dirty="0">
                <a:latin typeface="Century Gothic"/>
                <a:ea typeface="Century Gothic"/>
                <a:cs typeface="Century Gothic"/>
                <a:sym typeface="Century Gothic"/>
              </a:rPr>
              <a:t>-  </a:t>
            </a:r>
            <a:r>
              <a:rPr lang="en-US" sz="1000" dirty="0">
                <a:latin typeface="Century Gothic"/>
                <a:ea typeface="Century Gothic"/>
                <a:cs typeface="Century Gothic"/>
                <a:sym typeface="Century Gothic"/>
              </a:rPr>
              <a:t>Duopoly - 60%, 30%, rest (equivalent to REA/Domain, ticketing sector </a:t>
            </a:r>
            <a:r>
              <a:rPr lang="en-US" sz="1000" dirty="0" err="1">
                <a:latin typeface="Century Gothic"/>
                <a:ea typeface="Century Gothic"/>
                <a:cs typeface="Century Gothic"/>
                <a:sym typeface="Century Gothic"/>
              </a:rPr>
              <a:t>etc</a:t>
            </a:r>
            <a:r>
              <a:rPr lang="en-US" sz="1000" dirty="0">
                <a:latin typeface="Century Gothic"/>
                <a:ea typeface="Century Gothic"/>
                <a:cs typeface="Century Gothic"/>
                <a:sym typeface="Century Gothic"/>
              </a:rPr>
              <a:t>)</a:t>
            </a:r>
            <a:endParaRPr lang="en-US" sz="1200" dirty="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1169" name="Shape 1169"/>
          <p:cNvCxnSpPr/>
          <p:nvPr/>
        </p:nvCxnSpPr>
        <p:spPr>
          <a:xfrm>
            <a:off x="2187587" y="1827363"/>
            <a:ext cx="1087200" cy="0"/>
          </a:xfrm>
          <a:prstGeom prst="straightConnector1">
            <a:avLst/>
          </a:prstGeom>
          <a:noFill/>
          <a:ln w="15875" cap="flat" cmpd="sng">
            <a:solidFill>
              <a:srgbClr val="EFEFEF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70" name="Shape 1170"/>
          <p:cNvCxnSpPr/>
          <p:nvPr/>
        </p:nvCxnSpPr>
        <p:spPr>
          <a:xfrm>
            <a:off x="2187587" y="2830692"/>
            <a:ext cx="1087200" cy="0"/>
          </a:xfrm>
          <a:prstGeom prst="straightConnector1">
            <a:avLst/>
          </a:prstGeom>
          <a:noFill/>
          <a:ln w="15875" cap="flat" cmpd="sng">
            <a:solidFill>
              <a:schemeClr val="lt2"/>
            </a:solidFill>
            <a:prstDash val="solid"/>
            <a:round/>
            <a:headEnd type="none" w="med" len="med"/>
            <a:tailEnd type="oval" w="med" len="med"/>
          </a:ln>
        </p:spPr>
      </p:cxnSp>
      <p:sp>
        <p:nvSpPr>
          <p:cNvPr id="1171" name="Shape 1171"/>
          <p:cNvSpPr txBox="1"/>
          <p:nvPr/>
        </p:nvSpPr>
        <p:spPr>
          <a:xfrm>
            <a:off x="1006593" y="1699146"/>
            <a:ext cx="1370700" cy="261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25" rIns="91425" bIns="45725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100" b="1" dirty="0">
                <a:latin typeface="Century Gothic"/>
                <a:ea typeface="Century Gothic"/>
                <a:cs typeface="Century Gothic"/>
                <a:sym typeface="Century Gothic"/>
              </a:rPr>
              <a:t>2.3 Million</a:t>
            </a:r>
          </a:p>
        </p:txBody>
      </p:sp>
      <p:cxnSp>
        <p:nvCxnSpPr>
          <p:cNvPr id="1172" name="Shape 1172"/>
          <p:cNvCxnSpPr/>
          <p:nvPr/>
        </p:nvCxnSpPr>
        <p:spPr>
          <a:xfrm rot="10800000" flipH="1">
            <a:off x="1996344" y="3913196"/>
            <a:ext cx="1278600" cy="900"/>
          </a:xfrm>
          <a:prstGeom prst="straightConnector1">
            <a:avLst/>
          </a:prstGeom>
          <a:noFill/>
          <a:ln w="15875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sp>
        <p:nvSpPr>
          <p:cNvPr id="1173" name="Shape 1173"/>
          <p:cNvSpPr/>
          <p:nvPr/>
        </p:nvSpPr>
        <p:spPr>
          <a:xfrm>
            <a:off x="328148" y="1177775"/>
            <a:ext cx="2769900" cy="347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25" rIns="91425" bIns="457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400" b="1" dirty="0">
                <a:latin typeface="Century Gothic"/>
                <a:ea typeface="Century Gothic"/>
                <a:cs typeface="Century Gothic"/>
                <a:sym typeface="Century Gothic"/>
              </a:rPr>
              <a:t>Market Size</a:t>
            </a:r>
          </a:p>
          <a:p>
            <a:pPr marL="0" marR="0" lvl="0" indent="0" algn="ctr" rtl="0">
              <a:spcBef>
                <a:spcPts val="0"/>
              </a:spcBef>
              <a:buNone/>
            </a:pPr>
            <a:r>
              <a:rPr lang="en-US" sz="1000" dirty="0">
                <a:latin typeface="Century Gothic"/>
                <a:ea typeface="Century Gothic"/>
                <a:cs typeface="Century Gothic"/>
                <a:sym typeface="Century Gothic"/>
              </a:rPr>
              <a:t>Rental properties managed by landlords</a:t>
            </a:r>
          </a:p>
        </p:txBody>
      </p:sp>
      <p:sp>
        <p:nvSpPr>
          <p:cNvPr id="1180" name="Shape 1180"/>
          <p:cNvSpPr/>
          <p:nvPr/>
        </p:nvSpPr>
        <p:spPr>
          <a:xfrm>
            <a:off x="1126312" y="3135831"/>
            <a:ext cx="1169700" cy="11367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45725" rIns="91425" bIns="457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500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81" name="Shape 1181"/>
          <p:cNvSpPr txBox="1"/>
          <p:nvPr/>
        </p:nvSpPr>
        <p:spPr>
          <a:xfrm>
            <a:off x="907483" y="2703269"/>
            <a:ext cx="1574100" cy="261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25" rIns="91425" bIns="45725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100" b="1" dirty="0">
                <a:latin typeface="Century Gothic"/>
                <a:ea typeface="Century Gothic"/>
                <a:cs typeface="Century Gothic"/>
                <a:sym typeface="Century Gothic"/>
              </a:rPr>
              <a:t>1.4 Million</a:t>
            </a:r>
          </a:p>
        </p:txBody>
      </p:sp>
      <p:sp>
        <p:nvSpPr>
          <p:cNvPr id="1182" name="Shape 1182"/>
          <p:cNvSpPr txBox="1"/>
          <p:nvPr/>
        </p:nvSpPr>
        <p:spPr>
          <a:xfrm>
            <a:off x="1004674" y="3259225"/>
            <a:ext cx="1370699" cy="430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25" rIns="91425" bIns="45725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0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eader </a:t>
            </a:r>
            <a:r>
              <a:rPr lang="en-US" sz="10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(60%)</a:t>
            </a:r>
          </a:p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0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828,000 </a:t>
            </a:r>
          </a:p>
          <a:p>
            <a:pPr marL="0" marR="0" lvl="0" indent="0" algn="ctr" rtl="0">
              <a:spcBef>
                <a:spcPts val="0"/>
              </a:spcBef>
              <a:buNone/>
            </a:pPr>
            <a:endParaRPr sz="1000" b="1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0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hallenger (30%)</a:t>
            </a:r>
          </a:p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10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414,000</a:t>
            </a:r>
          </a:p>
          <a:p>
            <a:pPr lvl="0" algn="ctr" rtl="0">
              <a:spcBef>
                <a:spcPts val="0"/>
              </a:spcBef>
              <a:buClr>
                <a:srgbClr val="000000"/>
              </a:buClr>
              <a:buFont typeface="Arial"/>
              <a:buNone/>
            </a:pPr>
            <a:endParaRPr sz="11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ctr" rtl="0">
              <a:spcBef>
                <a:spcPts val="0"/>
              </a:spcBef>
              <a:buNone/>
            </a:pPr>
            <a:endParaRPr sz="1100" b="1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7F4036-277C-4E4F-AB26-A017E3987A0C}"/>
              </a:ext>
            </a:extLst>
          </p:cNvPr>
          <p:cNvSpPr/>
          <p:nvPr/>
        </p:nvSpPr>
        <p:spPr>
          <a:xfrm>
            <a:off x="0" y="0"/>
            <a:ext cx="887896" cy="262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/>
              <a:t>Suggested</a:t>
            </a:r>
          </a:p>
        </p:txBody>
      </p:sp>
      <p:sp>
        <p:nvSpPr>
          <p:cNvPr id="26" name="Shape 1030">
            <a:extLst>
              <a:ext uri="{FF2B5EF4-FFF2-40B4-BE49-F238E27FC236}">
                <a16:creationId xmlns:a16="http://schemas.microsoft.com/office/drawing/2014/main" id="{14259371-A6F6-4F0A-8322-1D02540F9E99}"/>
              </a:ext>
            </a:extLst>
          </p:cNvPr>
          <p:cNvSpPr txBox="1">
            <a:spLocks/>
          </p:cNvSpPr>
          <p:nvPr/>
        </p:nvSpPr>
        <p:spPr>
          <a:xfrm>
            <a:off x="5581248" y="262400"/>
            <a:ext cx="2879100" cy="857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entury Gothic"/>
              <a:buNone/>
              <a:defRPr sz="24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lvl="2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lvl="3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lvl="4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lvl="5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lvl="6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lvl="7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lvl="8" indent="0" rtl="0">
              <a:spcBef>
                <a:spcPts val="0"/>
              </a:spcBef>
              <a:buFont typeface="Century Gothic"/>
              <a:buNone/>
              <a:defRPr sz="1800"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r>
              <a:rPr lang="en-US" sz="1600">
                <a:solidFill>
                  <a:schemeClr val="accent1"/>
                </a:solidFill>
              </a:rPr>
              <a:t>Potential Revenue Models</a:t>
            </a: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27" name="Shape 1175">
            <a:extLst>
              <a:ext uri="{FF2B5EF4-FFF2-40B4-BE49-F238E27FC236}">
                <a16:creationId xmlns:a16="http://schemas.microsoft.com/office/drawing/2014/main" id="{2ECD530D-B68A-4CD3-812E-4AF63B3B4616}"/>
              </a:ext>
            </a:extLst>
          </p:cNvPr>
          <p:cNvSpPr txBox="1"/>
          <p:nvPr/>
        </p:nvSpPr>
        <p:spPr>
          <a:xfrm>
            <a:off x="6509750" y="1119800"/>
            <a:ext cx="2220300" cy="3651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50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en-US" sz="1200" b="1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mmissions</a:t>
            </a:r>
          </a:p>
          <a:p>
            <a:pPr lvl="0">
              <a:spcBef>
                <a:spcPts val="500"/>
              </a:spcBef>
            </a:pPr>
            <a:r>
              <a:rPr lang="en-AU" sz="9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mmission from the jobs performed by 3rd party maintenance providers and real estate tech providers plugging into the platform</a:t>
            </a:r>
          </a:p>
          <a:p>
            <a:pPr lvl="0" rtl="0">
              <a:spcBef>
                <a:spcPts val="500"/>
              </a:spcBef>
              <a:buClr>
                <a:schemeClr val="dk1"/>
              </a:buClr>
              <a:buFont typeface="Arial"/>
              <a:buNone/>
            </a:pPr>
            <a:endParaRPr sz="120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lvl="0" rtl="0">
              <a:spcBef>
                <a:spcPts val="50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en-US" sz="1200" b="1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ubscription</a:t>
            </a:r>
          </a:p>
          <a:p>
            <a:pPr lvl="0">
              <a:spcBef>
                <a:spcPts val="500"/>
              </a:spcBef>
            </a:pPr>
            <a:r>
              <a:rPr lang="en-AU" sz="9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andlords subscribe to the service on a monthly/yearly basis</a:t>
            </a:r>
          </a:p>
          <a:p>
            <a:pPr lvl="0">
              <a:spcBef>
                <a:spcPts val="500"/>
              </a:spcBef>
            </a:pPr>
            <a:endParaRPr lang="en-US" sz="120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lvl="0" rtl="0">
              <a:spcBef>
                <a:spcPts val="500"/>
              </a:spcBef>
              <a:buNone/>
            </a:pPr>
            <a:r>
              <a:rPr lang="en-US" sz="1200" b="1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icense model</a:t>
            </a:r>
          </a:p>
          <a:p>
            <a:pPr lvl="0">
              <a:spcBef>
                <a:spcPts val="500"/>
              </a:spcBef>
              <a:buClr>
                <a:schemeClr val="dk1"/>
              </a:buClr>
            </a:pPr>
            <a:r>
              <a:rPr lang="en-AU" sz="9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operty managers license the platform to offer to their landlords as a digital value added service</a:t>
            </a:r>
          </a:p>
          <a:p>
            <a:pPr lvl="0" rtl="0">
              <a:spcBef>
                <a:spcPts val="500"/>
              </a:spcBef>
              <a:buClr>
                <a:schemeClr val="dk1"/>
              </a:buClr>
              <a:buFont typeface="Arial"/>
              <a:buNone/>
            </a:pPr>
            <a:endParaRPr sz="120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lvl="0" rtl="0">
              <a:spcBef>
                <a:spcPts val="500"/>
              </a:spcBef>
              <a:buClr>
                <a:schemeClr val="dk1"/>
              </a:buClr>
              <a:buFont typeface="Arial"/>
              <a:buNone/>
            </a:pPr>
            <a:endParaRPr sz="1200" b="1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Shape 1176">
            <a:extLst>
              <a:ext uri="{FF2B5EF4-FFF2-40B4-BE49-F238E27FC236}">
                <a16:creationId xmlns:a16="http://schemas.microsoft.com/office/drawing/2014/main" id="{3EB70730-E72B-4EB6-A1FD-3018D03812AD}"/>
              </a:ext>
            </a:extLst>
          </p:cNvPr>
          <p:cNvSpPr/>
          <p:nvPr/>
        </p:nvSpPr>
        <p:spPr>
          <a:xfrm>
            <a:off x="5669525" y="1376791"/>
            <a:ext cx="716100" cy="7161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500"/>
              </a:spcBef>
              <a:buClr>
                <a:schemeClr val="dk1"/>
              </a:buClr>
              <a:buFont typeface="Arial"/>
              <a:buNone/>
            </a:pPr>
            <a:endParaRPr/>
          </a:p>
        </p:txBody>
      </p:sp>
      <p:sp>
        <p:nvSpPr>
          <p:cNvPr id="29" name="Shape 1177">
            <a:extLst>
              <a:ext uri="{FF2B5EF4-FFF2-40B4-BE49-F238E27FC236}">
                <a16:creationId xmlns:a16="http://schemas.microsoft.com/office/drawing/2014/main" id="{CF6624E5-AB84-420C-9E75-7FC5C063E20B}"/>
              </a:ext>
            </a:extLst>
          </p:cNvPr>
          <p:cNvSpPr txBox="1"/>
          <p:nvPr/>
        </p:nvSpPr>
        <p:spPr>
          <a:xfrm>
            <a:off x="5580025" y="1410487"/>
            <a:ext cx="880500" cy="63179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500"/>
              </a:spcBef>
              <a:buNone/>
            </a:pPr>
            <a:r>
              <a:rPr lang="en-US" sz="1800" b="1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1</a:t>
            </a:r>
            <a:endParaRPr lang="en-US" sz="1050" b="1" dirty="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0" name="Shape 1178">
            <a:extLst>
              <a:ext uri="{FF2B5EF4-FFF2-40B4-BE49-F238E27FC236}">
                <a16:creationId xmlns:a16="http://schemas.microsoft.com/office/drawing/2014/main" id="{0A0087FF-B98A-436C-AF46-B42D90F7A591}"/>
              </a:ext>
            </a:extLst>
          </p:cNvPr>
          <p:cNvSpPr/>
          <p:nvPr/>
        </p:nvSpPr>
        <p:spPr>
          <a:xfrm>
            <a:off x="5669525" y="2370947"/>
            <a:ext cx="716100" cy="7161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500"/>
              </a:spcBef>
              <a:buNone/>
            </a:pPr>
            <a:endParaRPr/>
          </a:p>
        </p:txBody>
      </p:sp>
      <p:sp>
        <p:nvSpPr>
          <p:cNvPr id="31" name="Shape 1179">
            <a:extLst>
              <a:ext uri="{FF2B5EF4-FFF2-40B4-BE49-F238E27FC236}">
                <a16:creationId xmlns:a16="http://schemas.microsoft.com/office/drawing/2014/main" id="{A1CDB57E-3610-4565-95BD-69128B84BC5D}"/>
              </a:ext>
            </a:extLst>
          </p:cNvPr>
          <p:cNvSpPr txBox="1"/>
          <p:nvPr/>
        </p:nvSpPr>
        <p:spPr>
          <a:xfrm>
            <a:off x="5580025" y="2412862"/>
            <a:ext cx="880500" cy="631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500"/>
              </a:spcBef>
              <a:buNone/>
            </a:pPr>
            <a:r>
              <a:rPr lang="en-US" sz="1800" b="1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</a:t>
            </a:r>
            <a:endParaRPr lang="en-US" sz="1050" b="1" dirty="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2" name="Shape 1178">
            <a:extLst>
              <a:ext uri="{FF2B5EF4-FFF2-40B4-BE49-F238E27FC236}">
                <a16:creationId xmlns:a16="http://schemas.microsoft.com/office/drawing/2014/main" id="{FC289938-63EC-4946-B5B0-26FDFB3B7474}"/>
              </a:ext>
            </a:extLst>
          </p:cNvPr>
          <p:cNvSpPr/>
          <p:nvPr/>
        </p:nvSpPr>
        <p:spPr>
          <a:xfrm>
            <a:off x="5669525" y="3369533"/>
            <a:ext cx="716100" cy="7161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500"/>
              </a:spcBef>
              <a:buNone/>
            </a:pPr>
            <a:endParaRPr/>
          </a:p>
        </p:txBody>
      </p:sp>
      <p:sp>
        <p:nvSpPr>
          <p:cNvPr id="33" name="Shape 1179">
            <a:extLst>
              <a:ext uri="{FF2B5EF4-FFF2-40B4-BE49-F238E27FC236}">
                <a16:creationId xmlns:a16="http://schemas.microsoft.com/office/drawing/2014/main" id="{3D98CE54-DDB7-4765-94BD-87762C5A4F7B}"/>
              </a:ext>
            </a:extLst>
          </p:cNvPr>
          <p:cNvSpPr txBox="1"/>
          <p:nvPr/>
        </p:nvSpPr>
        <p:spPr>
          <a:xfrm>
            <a:off x="5580025" y="3405270"/>
            <a:ext cx="880500" cy="631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500"/>
              </a:spcBef>
              <a:buNone/>
            </a:pPr>
            <a:r>
              <a:rPr lang="en-US" sz="1800" b="1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3</a:t>
            </a:r>
            <a:endParaRPr lang="en-US" sz="1050" b="1" dirty="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1922A40-E60F-4D5C-ABED-32D6F511899B}"/>
              </a:ext>
            </a:extLst>
          </p:cNvPr>
          <p:cNvSpPr/>
          <p:nvPr/>
        </p:nvSpPr>
        <p:spPr>
          <a:xfrm>
            <a:off x="9204425" y="0"/>
            <a:ext cx="2192177" cy="5143575"/>
          </a:xfrm>
          <a:prstGeom prst="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50" b="1" dirty="0">
                <a:solidFill>
                  <a:schemeClr val="tx1"/>
                </a:solidFill>
              </a:rPr>
              <a:t>Voiceover </a:t>
            </a:r>
          </a:p>
          <a:p>
            <a:endParaRPr lang="en-US" sz="1050" b="1" dirty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AU" sz="1050" dirty="0">
                <a:solidFill>
                  <a:schemeClr val="tx1"/>
                </a:solidFill>
              </a:rPr>
              <a:t>Property agents license the platform to offer to their multiple tenants</a:t>
            </a:r>
          </a:p>
          <a:p>
            <a:pPr marL="171450" indent="-171450">
              <a:buFontTx/>
              <a:buChar char="-"/>
            </a:pPr>
            <a:r>
              <a:rPr lang="en-AU" sz="1050" dirty="0">
                <a:solidFill>
                  <a:schemeClr val="tx1"/>
                </a:solidFill>
              </a:rPr>
              <a:t>Lead generation from utility providers offering services to the tenants/property managers</a:t>
            </a:r>
          </a:p>
          <a:p>
            <a:pPr marL="171450" indent="-171450">
              <a:buFontTx/>
              <a:buChar char="-"/>
            </a:pPr>
            <a:r>
              <a:rPr lang="en-AU" sz="1050" dirty="0">
                <a:solidFill>
                  <a:schemeClr val="tx1"/>
                </a:solidFill>
              </a:rPr>
              <a:t>Charge the landlord a percentage of each payment</a:t>
            </a:r>
          </a:p>
          <a:p>
            <a:pPr marL="171450" indent="-171450">
              <a:buFontTx/>
              <a:buChar char="-"/>
            </a:pPr>
            <a:r>
              <a:rPr lang="en-AU" sz="1050" dirty="0">
                <a:solidFill>
                  <a:schemeClr val="tx1"/>
                </a:solidFill>
              </a:rPr>
              <a:t>Subscription model - Tenants subscribe to the service on a monthly/yearly basis</a:t>
            </a:r>
          </a:p>
          <a:p>
            <a:endParaRPr lang="en-US" sz="105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7C0EEC5-6D8A-4C72-B3C0-771BA2693D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7C0EEC5-6D8A-4C72-B3C0-771BA2693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1439B1-B9C8-4870-A87D-44063850F7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B2BBB6-CEE4-4D20-ACFD-7C547BAED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itive landscap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7A16ABB-E1F6-4C0A-AD1C-4C49E128C1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51082" y="3024795"/>
            <a:ext cx="957070" cy="237976"/>
          </a:xfrm>
          <a:prstGeom prst="rect">
            <a:avLst/>
          </a:prstGeom>
        </p:spPr>
      </p:pic>
      <p:cxnSp>
        <p:nvCxnSpPr>
          <p:cNvPr id="12" name="Shape 995">
            <a:extLst>
              <a:ext uri="{FF2B5EF4-FFF2-40B4-BE49-F238E27FC236}">
                <a16:creationId xmlns:a16="http://schemas.microsoft.com/office/drawing/2014/main" id="{7A8DD70F-2FFD-41A9-9442-4A4EC7971822}"/>
              </a:ext>
            </a:extLst>
          </p:cNvPr>
          <p:cNvCxnSpPr/>
          <p:nvPr/>
        </p:nvCxnSpPr>
        <p:spPr>
          <a:xfrm>
            <a:off x="3075409" y="1440600"/>
            <a:ext cx="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3" name="Shape 996">
            <a:extLst>
              <a:ext uri="{FF2B5EF4-FFF2-40B4-BE49-F238E27FC236}">
                <a16:creationId xmlns:a16="http://schemas.microsoft.com/office/drawing/2014/main" id="{1B548E13-23E8-4EE2-9168-13D16C1A2FCC}"/>
              </a:ext>
            </a:extLst>
          </p:cNvPr>
          <p:cNvCxnSpPr/>
          <p:nvPr/>
        </p:nvCxnSpPr>
        <p:spPr>
          <a:xfrm>
            <a:off x="2089115" y="1447655"/>
            <a:ext cx="6395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" name="Shape 997">
            <a:extLst>
              <a:ext uri="{FF2B5EF4-FFF2-40B4-BE49-F238E27FC236}">
                <a16:creationId xmlns:a16="http://schemas.microsoft.com/office/drawing/2014/main" id="{22ACCA43-F396-4A3D-AC90-4282F1B92F5A}"/>
              </a:ext>
            </a:extLst>
          </p:cNvPr>
          <p:cNvSpPr/>
          <p:nvPr/>
        </p:nvSpPr>
        <p:spPr>
          <a:xfrm>
            <a:off x="1466360" y="1267350"/>
            <a:ext cx="1584000" cy="346500"/>
          </a:xfrm>
          <a:prstGeom prst="roundRect">
            <a:avLst>
              <a:gd name="adj" fmla="val 17874"/>
            </a:avLst>
          </a:prstGeom>
          <a:solidFill>
            <a:schemeClr val="accent4"/>
          </a:solidFill>
          <a:ln>
            <a:noFill/>
          </a:ln>
        </p:spPr>
        <p:txBody>
          <a:bodyPr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25000"/>
              <a:buFont typeface="Century Gothic"/>
              <a:buNone/>
            </a:pPr>
            <a:r>
              <a:rPr lang="en-US" sz="900" b="1" i="0" u="none" strike="noStrike" cap="none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isting property and accepting application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C9B0FCE-9343-492F-A5EE-80AAB886CAA5}"/>
              </a:ext>
            </a:extLst>
          </p:cNvPr>
          <p:cNvGrpSpPr/>
          <p:nvPr/>
        </p:nvGrpSpPr>
        <p:grpSpPr>
          <a:xfrm>
            <a:off x="1478062" y="915325"/>
            <a:ext cx="7108537" cy="463275"/>
            <a:chOff x="1250980" y="823750"/>
            <a:chExt cx="5972445" cy="540650"/>
          </a:xfrm>
        </p:grpSpPr>
        <p:cxnSp>
          <p:nvCxnSpPr>
            <p:cNvPr id="19" name="Shape 731">
              <a:extLst>
                <a:ext uri="{FF2B5EF4-FFF2-40B4-BE49-F238E27FC236}">
                  <a16:creationId xmlns:a16="http://schemas.microsoft.com/office/drawing/2014/main" id="{57C4BF58-D547-4055-8F93-6735716EBFE7}"/>
                </a:ext>
              </a:extLst>
            </p:cNvPr>
            <p:cNvCxnSpPr/>
            <p:nvPr/>
          </p:nvCxnSpPr>
          <p:spPr>
            <a:xfrm>
              <a:off x="2815375" y="1364400"/>
              <a:ext cx="0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0" name="Shape 757">
              <a:extLst>
                <a:ext uri="{FF2B5EF4-FFF2-40B4-BE49-F238E27FC236}">
                  <a16:creationId xmlns:a16="http://schemas.microsoft.com/office/drawing/2014/main" id="{4A0379C1-E1F5-4479-81D8-42F088E4B0BA}"/>
                </a:ext>
              </a:extLst>
            </p:cNvPr>
            <p:cNvCxnSpPr/>
            <p:nvPr/>
          </p:nvCxnSpPr>
          <p:spPr>
            <a:xfrm>
              <a:off x="1250980" y="963850"/>
              <a:ext cx="5972399" cy="0"/>
            </a:xfrm>
            <a:prstGeom prst="straightConnector1">
              <a:avLst/>
            </a:prstGeom>
            <a:noFill/>
            <a:ln w="9525" cap="flat" cmpd="sng">
              <a:solidFill>
                <a:srgbClr val="AACBE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1" name="Shape 758">
              <a:extLst>
                <a:ext uri="{FF2B5EF4-FFF2-40B4-BE49-F238E27FC236}">
                  <a16:creationId xmlns:a16="http://schemas.microsoft.com/office/drawing/2014/main" id="{B70D1EF5-B15F-4248-8401-5F1DE6A183CB}"/>
                </a:ext>
              </a:extLst>
            </p:cNvPr>
            <p:cNvCxnSpPr/>
            <p:nvPr/>
          </p:nvCxnSpPr>
          <p:spPr>
            <a:xfrm rot="10800000">
              <a:off x="1250980" y="907332"/>
              <a:ext cx="0" cy="113100"/>
            </a:xfrm>
            <a:prstGeom prst="straightConnector1">
              <a:avLst/>
            </a:prstGeom>
            <a:noFill/>
            <a:ln w="9525" cap="flat" cmpd="sng">
              <a:solidFill>
                <a:srgbClr val="AACBE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22" name="Shape 759">
              <a:extLst>
                <a:ext uri="{FF2B5EF4-FFF2-40B4-BE49-F238E27FC236}">
                  <a16:creationId xmlns:a16="http://schemas.microsoft.com/office/drawing/2014/main" id="{87F80320-1762-464D-9345-0DD6D49AAA42}"/>
                </a:ext>
              </a:extLst>
            </p:cNvPr>
            <p:cNvGrpSpPr/>
            <p:nvPr/>
          </p:nvGrpSpPr>
          <p:grpSpPr>
            <a:xfrm>
              <a:off x="4156525" y="907266"/>
              <a:ext cx="161567" cy="113165"/>
              <a:chOff x="1308529" y="1031866"/>
              <a:chExt cx="79500" cy="113165"/>
            </a:xfrm>
          </p:grpSpPr>
          <p:sp>
            <p:nvSpPr>
              <p:cNvPr id="28" name="Shape 760">
                <a:extLst>
                  <a:ext uri="{FF2B5EF4-FFF2-40B4-BE49-F238E27FC236}">
                    <a16:creationId xmlns:a16="http://schemas.microsoft.com/office/drawing/2014/main" id="{08EFB8B5-BF36-4558-9626-913A6E08F16D}"/>
                  </a:ext>
                </a:extLst>
              </p:cNvPr>
              <p:cNvSpPr/>
              <p:nvPr/>
            </p:nvSpPr>
            <p:spPr>
              <a:xfrm>
                <a:off x="1308529" y="1031866"/>
                <a:ext cx="79500" cy="1131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4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29" name="Shape 761">
                <a:extLst>
                  <a:ext uri="{FF2B5EF4-FFF2-40B4-BE49-F238E27FC236}">
                    <a16:creationId xmlns:a16="http://schemas.microsoft.com/office/drawing/2014/main" id="{8CD468AD-F554-407C-A014-76E9C97678F0}"/>
                  </a:ext>
                </a:extLst>
              </p:cNvPr>
              <p:cNvCxnSpPr/>
              <p:nvPr/>
            </p:nvCxnSpPr>
            <p:spPr>
              <a:xfrm rot="10800000">
                <a:off x="1308529" y="1031932"/>
                <a:ext cx="0" cy="11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ACBE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30" name="Shape 762">
                <a:extLst>
                  <a:ext uri="{FF2B5EF4-FFF2-40B4-BE49-F238E27FC236}">
                    <a16:creationId xmlns:a16="http://schemas.microsoft.com/office/drawing/2014/main" id="{4B04609D-A38F-444F-BE66-585D188419D2}"/>
                  </a:ext>
                </a:extLst>
              </p:cNvPr>
              <p:cNvCxnSpPr/>
              <p:nvPr/>
            </p:nvCxnSpPr>
            <p:spPr>
              <a:xfrm rot="10800000">
                <a:off x="1387904" y="1031932"/>
                <a:ext cx="0" cy="11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ACBE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23" name="Shape 763">
              <a:extLst>
                <a:ext uri="{FF2B5EF4-FFF2-40B4-BE49-F238E27FC236}">
                  <a16:creationId xmlns:a16="http://schemas.microsoft.com/office/drawing/2014/main" id="{2A701C82-9039-4577-906A-5B3C7C04F3D5}"/>
                </a:ext>
              </a:extLst>
            </p:cNvPr>
            <p:cNvSpPr/>
            <p:nvPr/>
          </p:nvSpPr>
          <p:spPr>
            <a:xfrm>
              <a:off x="2547647" y="907266"/>
              <a:ext cx="340500" cy="1395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Shape 764">
              <a:extLst>
                <a:ext uri="{FF2B5EF4-FFF2-40B4-BE49-F238E27FC236}">
                  <a16:creationId xmlns:a16="http://schemas.microsoft.com/office/drawing/2014/main" id="{990C2A77-13B8-4183-9C19-DF123D9AC3E4}"/>
                </a:ext>
              </a:extLst>
            </p:cNvPr>
            <p:cNvSpPr/>
            <p:nvPr/>
          </p:nvSpPr>
          <p:spPr>
            <a:xfrm>
              <a:off x="5310085" y="887170"/>
              <a:ext cx="917700" cy="1941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Shape 765">
              <a:extLst>
                <a:ext uri="{FF2B5EF4-FFF2-40B4-BE49-F238E27FC236}">
                  <a16:creationId xmlns:a16="http://schemas.microsoft.com/office/drawing/2014/main" id="{D84DD10D-6537-4E08-A17E-BC3BEF529659}"/>
                </a:ext>
              </a:extLst>
            </p:cNvPr>
            <p:cNvSpPr txBox="1"/>
            <p:nvPr/>
          </p:nvSpPr>
          <p:spPr>
            <a:xfrm>
              <a:off x="1360601" y="823750"/>
              <a:ext cx="2745599" cy="2802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45700" rIns="0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D4D4D"/>
                </a:buClr>
                <a:buSzPct val="25000"/>
                <a:buFont typeface="Century Gothic"/>
                <a:buNone/>
              </a:pPr>
              <a:r>
                <a:rPr lang="en-US" sz="800" b="1" i="0" u="none" strike="noStrike" cap="none">
                  <a:solidFill>
                    <a:srgbClr val="434343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ET UP</a:t>
              </a:r>
            </a:p>
          </p:txBody>
        </p:sp>
        <p:sp>
          <p:nvSpPr>
            <p:cNvPr id="26" name="Shape 766">
              <a:extLst>
                <a:ext uri="{FF2B5EF4-FFF2-40B4-BE49-F238E27FC236}">
                  <a16:creationId xmlns:a16="http://schemas.microsoft.com/office/drawing/2014/main" id="{CC513AE4-5307-4B3D-B8D1-D9107F20D9D0}"/>
                </a:ext>
              </a:extLst>
            </p:cNvPr>
            <p:cNvSpPr txBox="1"/>
            <p:nvPr/>
          </p:nvSpPr>
          <p:spPr>
            <a:xfrm>
              <a:off x="4317857" y="823750"/>
              <a:ext cx="2905500" cy="2802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45700" rIns="0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D4D4D"/>
                </a:buClr>
                <a:buSzPct val="25000"/>
                <a:buFont typeface="Century Gothic"/>
                <a:buNone/>
              </a:pPr>
              <a:r>
                <a:rPr lang="en-US" sz="800" b="1" i="0" u="none" strike="noStrike" cap="none">
                  <a:solidFill>
                    <a:srgbClr val="434343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ANAGEMENT</a:t>
              </a:r>
            </a:p>
          </p:txBody>
        </p:sp>
        <p:cxnSp>
          <p:nvCxnSpPr>
            <p:cNvPr id="27" name="Shape 767">
              <a:extLst>
                <a:ext uri="{FF2B5EF4-FFF2-40B4-BE49-F238E27FC236}">
                  <a16:creationId xmlns:a16="http://schemas.microsoft.com/office/drawing/2014/main" id="{43FF5EC9-5B5E-4BD6-8057-99886233CAD6}"/>
                </a:ext>
              </a:extLst>
            </p:cNvPr>
            <p:cNvCxnSpPr/>
            <p:nvPr/>
          </p:nvCxnSpPr>
          <p:spPr>
            <a:xfrm rot="10800000">
              <a:off x="7223425" y="907332"/>
              <a:ext cx="0" cy="113100"/>
            </a:xfrm>
            <a:prstGeom prst="straightConnector1">
              <a:avLst/>
            </a:prstGeom>
            <a:noFill/>
            <a:ln w="9525" cap="flat" cmpd="sng">
              <a:solidFill>
                <a:srgbClr val="AACBE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31" name="Shape 997">
            <a:extLst>
              <a:ext uri="{FF2B5EF4-FFF2-40B4-BE49-F238E27FC236}">
                <a16:creationId xmlns:a16="http://schemas.microsoft.com/office/drawing/2014/main" id="{42911920-7DDD-4F08-9801-73B9C24D6D13}"/>
              </a:ext>
            </a:extLst>
          </p:cNvPr>
          <p:cNvSpPr/>
          <p:nvPr/>
        </p:nvSpPr>
        <p:spPr>
          <a:xfrm>
            <a:off x="3272627" y="1267350"/>
            <a:ext cx="1584000" cy="346500"/>
          </a:xfrm>
          <a:prstGeom prst="roundRect">
            <a:avLst>
              <a:gd name="adj" fmla="val 17874"/>
            </a:avLst>
          </a:prstGeom>
          <a:solidFill>
            <a:schemeClr val="accent4"/>
          </a:solidFill>
          <a:ln>
            <a:noFill/>
          </a:ln>
        </p:spPr>
        <p:txBody>
          <a:bodyPr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25000"/>
              <a:buFont typeface="Century Gothic"/>
              <a:buNone/>
            </a:pPr>
            <a:r>
              <a:rPr lang="en-US" sz="900" b="1" i="0" u="none" strike="noStrike" cap="none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Vetting tenants and finalizing tenancy</a:t>
            </a:r>
          </a:p>
        </p:txBody>
      </p:sp>
      <p:sp>
        <p:nvSpPr>
          <p:cNvPr id="32" name="Shape 997">
            <a:extLst>
              <a:ext uri="{FF2B5EF4-FFF2-40B4-BE49-F238E27FC236}">
                <a16:creationId xmlns:a16="http://schemas.microsoft.com/office/drawing/2014/main" id="{805F7652-9CB1-4C43-AD0E-172A749A416D}"/>
              </a:ext>
            </a:extLst>
          </p:cNvPr>
          <p:cNvSpPr/>
          <p:nvPr/>
        </p:nvSpPr>
        <p:spPr>
          <a:xfrm>
            <a:off x="5137617" y="1267350"/>
            <a:ext cx="1584000" cy="346500"/>
          </a:xfrm>
          <a:prstGeom prst="roundRect">
            <a:avLst>
              <a:gd name="adj" fmla="val 17874"/>
            </a:avLst>
          </a:prstGeom>
          <a:solidFill>
            <a:schemeClr val="accent4"/>
          </a:solidFill>
          <a:ln>
            <a:noFill/>
          </a:ln>
        </p:spPr>
        <p:txBody>
          <a:bodyPr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25000"/>
              <a:buFont typeface="Century Gothic"/>
              <a:buNone/>
            </a:pPr>
            <a:r>
              <a:rPr lang="en-US" sz="900" b="1" i="0" u="none" strike="noStrike" cap="none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anaging admin and payments</a:t>
            </a:r>
          </a:p>
        </p:txBody>
      </p:sp>
      <p:sp>
        <p:nvSpPr>
          <p:cNvPr id="33" name="Shape 997">
            <a:extLst>
              <a:ext uri="{FF2B5EF4-FFF2-40B4-BE49-F238E27FC236}">
                <a16:creationId xmlns:a16="http://schemas.microsoft.com/office/drawing/2014/main" id="{E221F7B7-3D13-4AE7-BC10-9B860EA002F9}"/>
              </a:ext>
            </a:extLst>
          </p:cNvPr>
          <p:cNvSpPr/>
          <p:nvPr/>
        </p:nvSpPr>
        <p:spPr>
          <a:xfrm>
            <a:off x="7002606" y="1267350"/>
            <a:ext cx="1584000" cy="346500"/>
          </a:xfrm>
          <a:prstGeom prst="roundRect">
            <a:avLst>
              <a:gd name="adj" fmla="val 17874"/>
            </a:avLst>
          </a:prstGeom>
          <a:solidFill>
            <a:schemeClr val="accent4"/>
          </a:solidFill>
          <a:ln>
            <a:noFill/>
          </a:ln>
        </p:spPr>
        <p:txBody>
          <a:bodyPr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25000"/>
              <a:buFont typeface="Century Gothic"/>
              <a:buNone/>
            </a:pPr>
            <a:r>
              <a:rPr lang="en-US" sz="900" b="1" i="0" u="none" strike="noStrike" cap="none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Handling property requests and inspection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E29DDD68-B0D9-4E58-8798-6A056A09E7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6071" y="3024795"/>
            <a:ext cx="957070" cy="23797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6A3391C4-180B-49A6-AF78-8BF56684A0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26503" y="3340239"/>
            <a:ext cx="1076248" cy="221858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3EC2E11C-1724-4429-ADFD-8B81CE0CA5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20236" y="3340239"/>
            <a:ext cx="1076248" cy="22185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B36AB08-E17F-40C2-B045-F313F3FCFE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1493" y="3340239"/>
            <a:ext cx="1076248" cy="221858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CA26C2BB-973E-4F45-91EF-FD6345A115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56483" y="3340239"/>
            <a:ext cx="1076248" cy="22185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C08FEDE-CE54-40B1-A497-6235B9942E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6092" y="3024795"/>
            <a:ext cx="957070" cy="237976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E40E6240-E49A-46B8-B0D2-502CCF502E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9825" y="3024795"/>
            <a:ext cx="957070" cy="237976"/>
          </a:xfrm>
          <a:prstGeom prst="rect">
            <a:avLst/>
          </a:prstGeom>
        </p:spPr>
      </p:pic>
      <p:pic>
        <p:nvPicPr>
          <p:cNvPr id="43" name="Shape 969">
            <a:extLst>
              <a:ext uri="{FF2B5EF4-FFF2-40B4-BE49-F238E27FC236}">
                <a16:creationId xmlns:a16="http://schemas.microsoft.com/office/drawing/2014/main" id="{E257897B-DC96-4C88-9D1C-DC41737F0137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t="21699" b="25721"/>
          <a:stretch/>
        </p:blipFill>
        <p:spPr>
          <a:xfrm>
            <a:off x="1692742" y="1716313"/>
            <a:ext cx="1131236" cy="36142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Shape 985">
            <a:extLst>
              <a:ext uri="{FF2B5EF4-FFF2-40B4-BE49-F238E27FC236}">
                <a16:creationId xmlns:a16="http://schemas.microsoft.com/office/drawing/2014/main" id="{5ECC4567-DA62-4359-9403-56B6093497B2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831923" y="2166244"/>
            <a:ext cx="852874" cy="191132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Shape 994">
            <a:extLst>
              <a:ext uri="{FF2B5EF4-FFF2-40B4-BE49-F238E27FC236}">
                <a16:creationId xmlns:a16="http://schemas.microsoft.com/office/drawing/2014/main" id="{37BAAACB-3B1F-4E8E-AE1B-0400F5CAB9A3}"/>
              </a:ext>
            </a:extLst>
          </p:cNvPr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1889386" y="2478316"/>
            <a:ext cx="737948" cy="250442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Shape 1008">
            <a:extLst>
              <a:ext uri="{FF2B5EF4-FFF2-40B4-BE49-F238E27FC236}">
                <a16:creationId xmlns:a16="http://schemas.microsoft.com/office/drawing/2014/main" id="{FF254970-9C12-4007-A58F-A9CF8DFE7E12}"/>
              </a:ext>
            </a:extLst>
          </p:cNvPr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3769577" y="1797657"/>
            <a:ext cx="590100" cy="198736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Shape 1001">
            <a:extLst>
              <a:ext uri="{FF2B5EF4-FFF2-40B4-BE49-F238E27FC236}">
                <a16:creationId xmlns:a16="http://schemas.microsoft.com/office/drawing/2014/main" id="{2A6BD3F2-8168-45E2-BB91-6EBE4E7B42AD}"/>
              </a:ext>
            </a:extLst>
          </p:cNvPr>
          <p:cNvSpPr txBox="1"/>
          <p:nvPr/>
        </p:nvSpPr>
        <p:spPr>
          <a:xfrm>
            <a:off x="277968" y="2987161"/>
            <a:ext cx="1121462" cy="18939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n-US" sz="1200" b="1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Targeting Landlords</a:t>
            </a:r>
          </a:p>
        </p:txBody>
      </p:sp>
      <p:cxnSp>
        <p:nvCxnSpPr>
          <p:cNvPr id="49" name="Shape 1006">
            <a:extLst>
              <a:ext uri="{FF2B5EF4-FFF2-40B4-BE49-F238E27FC236}">
                <a16:creationId xmlns:a16="http://schemas.microsoft.com/office/drawing/2014/main" id="{3155FBBD-CAE0-495B-B4C7-D406E604DADB}"/>
              </a:ext>
            </a:extLst>
          </p:cNvPr>
          <p:cNvCxnSpPr>
            <a:cxnSpLocks/>
          </p:cNvCxnSpPr>
          <p:nvPr/>
        </p:nvCxnSpPr>
        <p:spPr>
          <a:xfrm flipH="1">
            <a:off x="399546" y="2920702"/>
            <a:ext cx="8102107" cy="0"/>
          </a:xfrm>
          <a:prstGeom prst="straightConnector1">
            <a:avLst/>
          </a:prstGeom>
          <a:noFill/>
          <a:ln w="12700" cap="rnd" cmpd="sng">
            <a:solidFill>
              <a:srgbClr val="DFDEFB"/>
            </a:solidFill>
            <a:prstDash val="dot"/>
            <a:round/>
            <a:headEnd type="none" w="med" len="med"/>
            <a:tailEnd type="none" w="med" len="med"/>
          </a:ln>
        </p:spPr>
      </p:cxnSp>
      <p:pic>
        <p:nvPicPr>
          <p:cNvPr id="50" name="Shape 971">
            <a:extLst>
              <a:ext uri="{FF2B5EF4-FFF2-40B4-BE49-F238E27FC236}">
                <a16:creationId xmlns:a16="http://schemas.microsoft.com/office/drawing/2014/main" id="{26AE19B5-B866-469F-A62B-DF11281A9F7A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 b="22910"/>
          <a:stretch/>
        </p:blipFill>
        <p:spPr>
          <a:xfrm>
            <a:off x="7401717" y="1664535"/>
            <a:ext cx="785778" cy="266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Shape 972">
            <a:extLst>
              <a:ext uri="{FF2B5EF4-FFF2-40B4-BE49-F238E27FC236}">
                <a16:creationId xmlns:a16="http://schemas.microsoft.com/office/drawing/2014/main" id="{95D05D4F-3594-47FD-811D-A8DC6406E64B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5512154" y="2093486"/>
            <a:ext cx="834926" cy="297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Shape 983">
            <a:extLst>
              <a:ext uri="{FF2B5EF4-FFF2-40B4-BE49-F238E27FC236}">
                <a16:creationId xmlns:a16="http://schemas.microsoft.com/office/drawing/2014/main" id="{389D9A29-CC5C-4013-B0AD-2AF5D0B318DD}"/>
              </a:ext>
            </a:extLst>
          </p:cNvPr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5512154" y="1742988"/>
            <a:ext cx="834926" cy="253406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Shape 984">
            <a:extLst>
              <a:ext uri="{FF2B5EF4-FFF2-40B4-BE49-F238E27FC236}">
                <a16:creationId xmlns:a16="http://schemas.microsoft.com/office/drawing/2014/main" id="{7B883FFE-6ED0-4CA4-80AD-10CCFFB33D29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7421054" y="2112211"/>
            <a:ext cx="747104" cy="266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Shape 992">
            <a:extLst>
              <a:ext uri="{FF2B5EF4-FFF2-40B4-BE49-F238E27FC236}">
                <a16:creationId xmlns:a16="http://schemas.microsoft.com/office/drawing/2014/main" id="{F6E3564E-B65F-4EA3-B56D-BB651783268B}"/>
              </a:ext>
            </a:extLst>
          </p:cNvPr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3693403" y="2149853"/>
            <a:ext cx="775461" cy="193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Shape 1009">
            <a:extLst>
              <a:ext uri="{FF2B5EF4-FFF2-40B4-BE49-F238E27FC236}">
                <a16:creationId xmlns:a16="http://schemas.microsoft.com/office/drawing/2014/main" id="{77B85A32-8A53-442A-A7D3-CB8A968170CF}"/>
              </a:ext>
            </a:extLst>
          </p:cNvPr>
          <p:cNvPicPr preferRelativeResize="0"/>
          <p:nvPr/>
        </p:nvPicPr>
        <p:blipFill rotWithShape="1">
          <a:blip r:embed="rId17">
            <a:alphaModFix/>
          </a:blip>
          <a:srcRect t="25440" b="25440"/>
          <a:stretch/>
        </p:blipFill>
        <p:spPr>
          <a:xfrm>
            <a:off x="7422571" y="2533920"/>
            <a:ext cx="744070" cy="19083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Shape 976">
            <a:extLst>
              <a:ext uri="{FF2B5EF4-FFF2-40B4-BE49-F238E27FC236}">
                <a16:creationId xmlns:a16="http://schemas.microsoft.com/office/drawing/2014/main" id="{D6612DB4-8E30-4773-8E57-E8C7E1F5F9EA}"/>
              </a:ext>
            </a:extLst>
          </p:cNvPr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1938018" y="3664228"/>
            <a:ext cx="728176" cy="247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Shape 977">
            <a:extLst>
              <a:ext uri="{FF2B5EF4-FFF2-40B4-BE49-F238E27FC236}">
                <a16:creationId xmlns:a16="http://schemas.microsoft.com/office/drawing/2014/main" id="{B117CA2F-6CC3-47BD-B59D-74B6A4233800}"/>
              </a:ext>
            </a:extLst>
          </p:cNvPr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3674489" y="3664215"/>
            <a:ext cx="728176" cy="247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Shape 978">
            <a:extLst>
              <a:ext uri="{FF2B5EF4-FFF2-40B4-BE49-F238E27FC236}">
                <a16:creationId xmlns:a16="http://schemas.microsoft.com/office/drawing/2014/main" id="{9CCAE713-F1AF-427A-BCF5-A9F84E94AE95}"/>
              </a:ext>
            </a:extLst>
          </p:cNvPr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7429202" y="3664228"/>
            <a:ext cx="728176" cy="247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Shape 979">
            <a:extLst>
              <a:ext uri="{FF2B5EF4-FFF2-40B4-BE49-F238E27FC236}">
                <a16:creationId xmlns:a16="http://schemas.microsoft.com/office/drawing/2014/main" id="{E4CEE261-CB3C-4BC0-8487-19FC82CF193F}"/>
              </a:ext>
            </a:extLst>
          </p:cNvPr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5518502" y="3664228"/>
            <a:ext cx="728176" cy="247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60" name="Shape 968">
            <a:extLst>
              <a:ext uri="{FF2B5EF4-FFF2-40B4-BE49-F238E27FC236}">
                <a16:creationId xmlns:a16="http://schemas.microsoft.com/office/drawing/2014/main" id="{239F74EC-070F-40B9-9B0C-9779CA954AF5}"/>
              </a:ext>
            </a:extLst>
          </p:cNvPr>
          <p:cNvPicPr preferRelativeResize="0"/>
          <p:nvPr/>
        </p:nvPicPr>
        <p:blipFill>
          <a:blip r:embed="rId19">
            <a:alphaModFix/>
          </a:blip>
          <a:stretch>
            <a:fillRect/>
          </a:stretch>
        </p:blipFill>
        <p:spPr>
          <a:xfrm>
            <a:off x="1961106" y="3946661"/>
            <a:ext cx="682000" cy="326993"/>
          </a:xfrm>
          <a:prstGeom prst="rect">
            <a:avLst/>
          </a:prstGeom>
          <a:noFill/>
          <a:ln>
            <a:noFill/>
          </a:ln>
        </p:spPr>
      </p:pic>
      <p:pic>
        <p:nvPicPr>
          <p:cNvPr id="61" name="Shape 980">
            <a:extLst>
              <a:ext uri="{FF2B5EF4-FFF2-40B4-BE49-F238E27FC236}">
                <a16:creationId xmlns:a16="http://schemas.microsoft.com/office/drawing/2014/main" id="{4F5AF74F-E7C5-4A28-B1BB-B39557AC5701}"/>
              </a:ext>
            </a:extLst>
          </p:cNvPr>
          <p:cNvPicPr preferRelativeResize="0"/>
          <p:nvPr/>
        </p:nvPicPr>
        <p:blipFill>
          <a:blip r:embed="rId19">
            <a:alphaModFix/>
          </a:blip>
          <a:stretch>
            <a:fillRect/>
          </a:stretch>
        </p:blipFill>
        <p:spPr>
          <a:xfrm>
            <a:off x="3781884" y="3992818"/>
            <a:ext cx="590099" cy="282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Shape 986">
            <a:extLst>
              <a:ext uri="{FF2B5EF4-FFF2-40B4-BE49-F238E27FC236}">
                <a16:creationId xmlns:a16="http://schemas.microsoft.com/office/drawing/2014/main" id="{CD0F0150-25E2-41EB-A8F0-C6ABAC182EBC}"/>
              </a:ext>
            </a:extLst>
          </p:cNvPr>
          <p:cNvPicPr preferRelativeResize="0"/>
          <p:nvPr/>
        </p:nvPicPr>
        <p:blipFill>
          <a:blip r:embed="rId20">
            <a:alphaModFix/>
          </a:blip>
          <a:stretch>
            <a:fillRect/>
          </a:stretch>
        </p:blipFill>
        <p:spPr>
          <a:xfrm>
            <a:off x="2085357" y="4664201"/>
            <a:ext cx="433499" cy="1437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Shape 988">
            <a:extLst>
              <a:ext uri="{FF2B5EF4-FFF2-40B4-BE49-F238E27FC236}">
                <a16:creationId xmlns:a16="http://schemas.microsoft.com/office/drawing/2014/main" id="{6FD08906-AFFA-4A8A-AEF6-F0EBFA6C8BBF}"/>
              </a:ext>
            </a:extLst>
          </p:cNvPr>
          <p:cNvPicPr preferRelativeResize="0"/>
          <p:nvPr/>
        </p:nvPicPr>
        <p:blipFill>
          <a:blip r:embed="rId20">
            <a:alphaModFix/>
          </a:blip>
          <a:stretch>
            <a:fillRect/>
          </a:stretch>
        </p:blipFill>
        <p:spPr>
          <a:xfrm>
            <a:off x="3794455" y="4664201"/>
            <a:ext cx="433499" cy="1437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Shape 1010">
            <a:extLst>
              <a:ext uri="{FF2B5EF4-FFF2-40B4-BE49-F238E27FC236}">
                <a16:creationId xmlns:a16="http://schemas.microsoft.com/office/drawing/2014/main" id="{547C8A65-EF85-4934-BC7E-3EACB2399AC2}"/>
              </a:ext>
            </a:extLst>
          </p:cNvPr>
          <p:cNvPicPr preferRelativeResize="0"/>
          <p:nvPr/>
        </p:nvPicPr>
        <p:blipFill>
          <a:blip r:embed="rId21">
            <a:alphaModFix/>
          </a:blip>
          <a:stretch>
            <a:fillRect/>
          </a:stretch>
        </p:blipFill>
        <p:spPr>
          <a:xfrm>
            <a:off x="1927118" y="4386183"/>
            <a:ext cx="681999" cy="169365"/>
          </a:xfrm>
          <a:prstGeom prst="rect">
            <a:avLst/>
          </a:prstGeom>
          <a:noFill/>
          <a:ln>
            <a:noFill/>
          </a:ln>
        </p:spPr>
      </p:pic>
      <p:pic>
        <p:nvPicPr>
          <p:cNvPr id="65" name="Shape 1013">
            <a:extLst>
              <a:ext uri="{FF2B5EF4-FFF2-40B4-BE49-F238E27FC236}">
                <a16:creationId xmlns:a16="http://schemas.microsoft.com/office/drawing/2014/main" id="{4D02AB42-BB11-44E5-8A4E-D1E38DEDBF38}"/>
              </a:ext>
            </a:extLst>
          </p:cNvPr>
          <p:cNvPicPr preferRelativeResize="0"/>
          <p:nvPr/>
        </p:nvPicPr>
        <p:blipFill>
          <a:blip r:embed="rId21">
            <a:alphaModFix/>
          </a:blip>
          <a:stretch>
            <a:fillRect/>
          </a:stretch>
        </p:blipFill>
        <p:spPr>
          <a:xfrm>
            <a:off x="3679718" y="4386183"/>
            <a:ext cx="681999" cy="169365"/>
          </a:xfrm>
          <a:prstGeom prst="rect">
            <a:avLst/>
          </a:prstGeom>
          <a:noFill/>
          <a:ln>
            <a:noFill/>
          </a:ln>
        </p:spPr>
      </p:pic>
      <p:sp>
        <p:nvSpPr>
          <p:cNvPr id="66" name="Shape 1001">
            <a:extLst>
              <a:ext uri="{FF2B5EF4-FFF2-40B4-BE49-F238E27FC236}">
                <a16:creationId xmlns:a16="http://schemas.microsoft.com/office/drawing/2014/main" id="{DD5258B8-F443-445C-BA10-09B5AE765FAB}"/>
              </a:ext>
            </a:extLst>
          </p:cNvPr>
          <p:cNvSpPr txBox="1"/>
          <p:nvPr/>
        </p:nvSpPr>
        <p:spPr>
          <a:xfrm>
            <a:off x="277968" y="1683131"/>
            <a:ext cx="1121462" cy="1171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n-US" sz="1200" b="1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General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6950DF-3A8F-4296-AD89-DED3A03ACE6D}"/>
              </a:ext>
            </a:extLst>
          </p:cNvPr>
          <p:cNvSpPr/>
          <p:nvPr/>
        </p:nvSpPr>
        <p:spPr>
          <a:xfrm>
            <a:off x="9204425" y="-388"/>
            <a:ext cx="2192177" cy="5143964"/>
          </a:xfrm>
          <a:prstGeom prst="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900" b="1" dirty="0">
                <a:solidFill>
                  <a:schemeClr val="tx1"/>
                </a:solidFill>
              </a:rPr>
              <a:t>Voiceover</a:t>
            </a:r>
          </a:p>
          <a:p>
            <a:pPr marL="228600" indent="-228600">
              <a:buAutoNum type="arabicPeriod"/>
            </a:pPr>
            <a:r>
              <a:rPr lang="en-AU" sz="900" dirty="0">
                <a:solidFill>
                  <a:schemeClr val="tx1"/>
                </a:solidFill>
              </a:rPr>
              <a:t>The property listing market is dominated by REA and Domain while individual </a:t>
            </a:r>
            <a:r>
              <a:rPr lang="en-AU" sz="900" dirty="0" err="1">
                <a:solidFill>
                  <a:schemeClr val="tx1"/>
                </a:solidFill>
              </a:rPr>
              <a:t>startups</a:t>
            </a:r>
            <a:r>
              <a:rPr lang="en-AU" sz="900" dirty="0">
                <a:solidFill>
                  <a:schemeClr val="tx1"/>
                </a:solidFill>
              </a:rPr>
              <a:t> are targeting property buying, property managers and verticals within the rental value chain</a:t>
            </a:r>
          </a:p>
          <a:p>
            <a:pPr marL="228600" indent="-228600">
              <a:buAutoNum type="arabicPeriod"/>
            </a:pPr>
            <a:r>
              <a:rPr lang="en-AU" sz="900" dirty="0">
                <a:solidFill>
                  <a:schemeClr val="tx1"/>
                </a:solidFill>
              </a:rPr>
              <a:t>:Different and </a:t>
            </a:r>
            <a:r>
              <a:rPr lang="en-AU" sz="900" dirty="0" err="1">
                <a:solidFill>
                  <a:schemeClr val="tx1"/>
                </a:solidFill>
              </a:rPr>
              <a:t>Instarent</a:t>
            </a:r>
            <a:r>
              <a:rPr lang="en-AU" sz="900" dirty="0">
                <a:solidFill>
                  <a:schemeClr val="tx1"/>
                </a:solidFill>
              </a:rPr>
              <a:t> are relatively new entrants and they have recently been gaining significant traction in Australia</a:t>
            </a:r>
          </a:p>
          <a:p>
            <a:pPr marL="228600" indent="-228600">
              <a:buAutoNum type="arabicPeriod"/>
            </a:pPr>
            <a:r>
              <a:rPr lang="en-AU" sz="900" dirty="0">
                <a:solidFill>
                  <a:schemeClr val="tx1"/>
                </a:solidFill>
              </a:rPr>
              <a:t>Opportunity for property management is still significant in Australia (i.e. over $5.5Bn)</a:t>
            </a:r>
          </a:p>
          <a:p>
            <a:pPr marL="228600" indent="-228600">
              <a:buAutoNum type="arabicPeriod"/>
            </a:pPr>
            <a:endParaRPr lang="en-AU" sz="900" dirty="0">
              <a:solidFill>
                <a:schemeClr val="tx1"/>
              </a:solidFill>
            </a:endParaRPr>
          </a:p>
          <a:p>
            <a:pPr marL="228600" indent="-228600">
              <a:buAutoNum type="arabicPeriod"/>
            </a:pPr>
            <a:endParaRPr lang="en-AU" sz="900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1995335-6C54-496D-A567-23E0A27152A4}"/>
              </a:ext>
            </a:extLst>
          </p:cNvPr>
          <p:cNvSpPr/>
          <p:nvPr/>
        </p:nvSpPr>
        <p:spPr>
          <a:xfrm>
            <a:off x="0" y="0"/>
            <a:ext cx="887896" cy="262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/>
              <a:t>Do not edit</a:t>
            </a:r>
          </a:p>
        </p:txBody>
      </p:sp>
    </p:spTree>
    <p:extLst>
      <p:ext uri="{BB962C8B-B14F-4D97-AF65-F5344CB8AC3E}">
        <p14:creationId xmlns:p14="http://schemas.microsoft.com/office/powerpoint/2010/main" val="3672460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5082D51-D014-4426-ACBC-55AD145E4C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068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5A06B51-83BF-4B1F-A45C-E41C7F63CB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CAD0E5-EAB7-49B7-A048-94342A4A2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t work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2446BDF-DA50-4793-B50D-10770F3A6611}"/>
              </a:ext>
            </a:extLst>
          </p:cNvPr>
          <p:cNvGrpSpPr/>
          <p:nvPr/>
        </p:nvGrpSpPr>
        <p:grpSpPr>
          <a:xfrm>
            <a:off x="443948" y="870384"/>
            <a:ext cx="8052773" cy="540650"/>
            <a:chOff x="1250980" y="823750"/>
            <a:chExt cx="5972445" cy="540650"/>
          </a:xfrm>
        </p:grpSpPr>
        <p:cxnSp>
          <p:nvCxnSpPr>
            <p:cNvPr id="4" name="Shape 731">
              <a:extLst>
                <a:ext uri="{FF2B5EF4-FFF2-40B4-BE49-F238E27FC236}">
                  <a16:creationId xmlns:a16="http://schemas.microsoft.com/office/drawing/2014/main" id="{B8481E90-E860-4FF4-A5D4-665DAF0367E5}"/>
                </a:ext>
              </a:extLst>
            </p:cNvPr>
            <p:cNvCxnSpPr/>
            <p:nvPr/>
          </p:nvCxnSpPr>
          <p:spPr>
            <a:xfrm>
              <a:off x="2815375" y="1364400"/>
              <a:ext cx="0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0" name="Shape 757">
              <a:extLst>
                <a:ext uri="{FF2B5EF4-FFF2-40B4-BE49-F238E27FC236}">
                  <a16:creationId xmlns:a16="http://schemas.microsoft.com/office/drawing/2014/main" id="{D3EC7A20-7FCC-41FC-BD9A-B975493184AA}"/>
                </a:ext>
              </a:extLst>
            </p:cNvPr>
            <p:cNvCxnSpPr/>
            <p:nvPr/>
          </p:nvCxnSpPr>
          <p:spPr>
            <a:xfrm>
              <a:off x="1250980" y="963850"/>
              <a:ext cx="5972399" cy="0"/>
            </a:xfrm>
            <a:prstGeom prst="straightConnector1">
              <a:avLst/>
            </a:prstGeom>
            <a:noFill/>
            <a:ln w="9525" cap="flat" cmpd="sng">
              <a:solidFill>
                <a:srgbClr val="AACBE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1" name="Shape 758">
              <a:extLst>
                <a:ext uri="{FF2B5EF4-FFF2-40B4-BE49-F238E27FC236}">
                  <a16:creationId xmlns:a16="http://schemas.microsoft.com/office/drawing/2014/main" id="{E5159E69-002E-4C97-AE26-643C753A493F}"/>
                </a:ext>
              </a:extLst>
            </p:cNvPr>
            <p:cNvCxnSpPr/>
            <p:nvPr/>
          </p:nvCxnSpPr>
          <p:spPr>
            <a:xfrm rot="10800000">
              <a:off x="1250980" y="907332"/>
              <a:ext cx="0" cy="113100"/>
            </a:xfrm>
            <a:prstGeom prst="straightConnector1">
              <a:avLst/>
            </a:prstGeom>
            <a:noFill/>
            <a:ln w="9525" cap="flat" cmpd="sng">
              <a:solidFill>
                <a:srgbClr val="AACBE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12" name="Shape 759">
              <a:extLst>
                <a:ext uri="{FF2B5EF4-FFF2-40B4-BE49-F238E27FC236}">
                  <a16:creationId xmlns:a16="http://schemas.microsoft.com/office/drawing/2014/main" id="{5E657473-4CB3-4EAE-8799-84210B3F241C}"/>
                </a:ext>
              </a:extLst>
            </p:cNvPr>
            <p:cNvGrpSpPr/>
            <p:nvPr/>
          </p:nvGrpSpPr>
          <p:grpSpPr>
            <a:xfrm>
              <a:off x="4156525" y="907266"/>
              <a:ext cx="161567" cy="113165"/>
              <a:chOff x="1308529" y="1031866"/>
              <a:chExt cx="79500" cy="113165"/>
            </a:xfrm>
          </p:grpSpPr>
          <p:sp>
            <p:nvSpPr>
              <p:cNvPr id="18" name="Shape 760">
                <a:extLst>
                  <a:ext uri="{FF2B5EF4-FFF2-40B4-BE49-F238E27FC236}">
                    <a16:creationId xmlns:a16="http://schemas.microsoft.com/office/drawing/2014/main" id="{446081FF-7EC6-4BC2-8980-5EA72227138C}"/>
                  </a:ext>
                </a:extLst>
              </p:cNvPr>
              <p:cNvSpPr/>
              <p:nvPr/>
            </p:nvSpPr>
            <p:spPr>
              <a:xfrm>
                <a:off x="1308529" y="1031866"/>
                <a:ext cx="79500" cy="1131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4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19" name="Shape 761">
                <a:extLst>
                  <a:ext uri="{FF2B5EF4-FFF2-40B4-BE49-F238E27FC236}">
                    <a16:creationId xmlns:a16="http://schemas.microsoft.com/office/drawing/2014/main" id="{64A25CD9-0A27-48C8-BFC6-3AB8FF6BD710}"/>
                  </a:ext>
                </a:extLst>
              </p:cNvPr>
              <p:cNvCxnSpPr/>
              <p:nvPr/>
            </p:nvCxnSpPr>
            <p:spPr>
              <a:xfrm rot="10800000">
                <a:off x="1308529" y="1031932"/>
                <a:ext cx="0" cy="11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ACBE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0" name="Shape 762">
                <a:extLst>
                  <a:ext uri="{FF2B5EF4-FFF2-40B4-BE49-F238E27FC236}">
                    <a16:creationId xmlns:a16="http://schemas.microsoft.com/office/drawing/2014/main" id="{77E0D6F6-DC46-44B7-BA47-4B96218E6177}"/>
                  </a:ext>
                </a:extLst>
              </p:cNvPr>
              <p:cNvCxnSpPr/>
              <p:nvPr/>
            </p:nvCxnSpPr>
            <p:spPr>
              <a:xfrm rot="10800000">
                <a:off x="1387904" y="1031932"/>
                <a:ext cx="0" cy="11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ACBE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13" name="Shape 763">
              <a:extLst>
                <a:ext uri="{FF2B5EF4-FFF2-40B4-BE49-F238E27FC236}">
                  <a16:creationId xmlns:a16="http://schemas.microsoft.com/office/drawing/2014/main" id="{33354537-0890-47A4-99B9-082E542458BA}"/>
                </a:ext>
              </a:extLst>
            </p:cNvPr>
            <p:cNvSpPr/>
            <p:nvPr/>
          </p:nvSpPr>
          <p:spPr>
            <a:xfrm>
              <a:off x="2547647" y="907266"/>
              <a:ext cx="340500" cy="1395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Shape 764">
              <a:extLst>
                <a:ext uri="{FF2B5EF4-FFF2-40B4-BE49-F238E27FC236}">
                  <a16:creationId xmlns:a16="http://schemas.microsoft.com/office/drawing/2014/main" id="{D9614074-AF15-4A89-8D31-5D3EB50313C7}"/>
                </a:ext>
              </a:extLst>
            </p:cNvPr>
            <p:cNvSpPr/>
            <p:nvPr/>
          </p:nvSpPr>
          <p:spPr>
            <a:xfrm>
              <a:off x="5310085" y="887170"/>
              <a:ext cx="917700" cy="1941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Shape 765">
              <a:extLst>
                <a:ext uri="{FF2B5EF4-FFF2-40B4-BE49-F238E27FC236}">
                  <a16:creationId xmlns:a16="http://schemas.microsoft.com/office/drawing/2014/main" id="{11A3A297-3A01-4C5C-B3D6-5B9A9A7979FB}"/>
                </a:ext>
              </a:extLst>
            </p:cNvPr>
            <p:cNvSpPr txBox="1"/>
            <p:nvPr/>
          </p:nvSpPr>
          <p:spPr>
            <a:xfrm>
              <a:off x="1928164" y="823750"/>
              <a:ext cx="1610474" cy="280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45700" rIns="0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D4D4D"/>
                </a:buClr>
                <a:buSzPct val="25000"/>
                <a:buFont typeface="Century Gothic"/>
                <a:buNone/>
              </a:pPr>
              <a:r>
                <a:rPr lang="en-US" sz="1200" b="1" i="0" u="none" strike="noStrike" cap="none" dirty="0">
                  <a:solidFill>
                    <a:srgbClr val="434343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ET UP &amp; MANAGEMENT</a:t>
              </a:r>
            </a:p>
          </p:txBody>
        </p:sp>
        <p:sp>
          <p:nvSpPr>
            <p:cNvPr id="16" name="Shape 766">
              <a:extLst>
                <a:ext uri="{FF2B5EF4-FFF2-40B4-BE49-F238E27FC236}">
                  <a16:creationId xmlns:a16="http://schemas.microsoft.com/office/drawing/2014/main" id="{784539D5-475D-415F-A505-892BB8E2A2CE}"/>
                </a:ext>
              </a:extLst>
            </p:cNvPr>
            <p:cNvSpPr txBox="1"/>
            <p:nvPr/>
          </p:nvSpPr>
          <p:spPr>
            <a:xfrm>
              <a:off x="5310086" y="823750"/>
              <a:ext cx="921043" cy="280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45700" rIns="0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D4D4D"/>
                </a:buClr>
                <a:buSzPct val="25000"/>
                <a:buFont typeface="Century Gothic"/>
                <a:buNone/>
              </a:pPr>
              <a:r>
                <a:rPr lang="en-US" sz="1200" b="1" i="0" u="none" strike="noStrike" cap="none" dirty="0">
                  <a:solidFill>
                    <a:srgbClr val="434343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AINTENANCE</a:t>
              </a:r>
            </a:p>
          </p:txBody>
        </p:sp>
        <p:cxnSp>
          <p:nvCxnSpPr>
            <p:cNvPr id="17" name="Shape 767">
              <a:extLst>
                <a:ext uri="{FF2B5EF4-FFF2-40B4-BE49-F238E27FC236}">
                  <a16:creationId xmlns:a16="http://schemas.microsoft.com/office/drawing/2014/main" id="{10AC3FAC-0EC3-4010-9499-7CBB900E2D91}"/>
                </a:ext>
              </a:extLst>
            </p:cNvPr>
            <p:cNvCxnSpPr/>
            <p:nvPr/>
          </p:nvCxnSpPr>
          <p:spPr>
            <a:xfrm rot="10800000">
              <a:off x="7223425" y="907332"/>
              <a:ext cx="0" cy="113100"/>
            </a:xfrm>
            <a:prstGeom prst="straightConnector1">
              <a:avLst/>
            </a:prstGeom>
            <a:noFill/>
            <a:ln w="9525" cap="flat" cmpd="sng">
              <a:solidFill>
                <a:srgbClr val="AACBE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5635F69A-A89C-4D0F-B981-B2D5CB348B62}"/>
              </a:ext>
            </a:extLst>
          </p:cNvPr>
          <p:cNvSpPr/>
          <p:nvPr/>
        </p:nvSpPr>
        <p:spPr>
          <a:xfrm>
            <a:off x="671578" y="1331709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101B72D-63A3-40FA-A2E2-EB8B4E07AB42}"/>
              </a:ext>
            </a:extLst>
          </p:cNvPr>
          <p:cNvSpPr txBox="1"/>
          <p:nvPr/>
        </p:nvSpPr>
        <p:spPr>
          <a:xfrm>
            <a:off x="1160636" y="1360436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>
                <a:latin typeface="Century Gothic" panose="020B0502020202020204" pitchFamily="34" charset="0"/>
              </a:rPr>
              <a:t>Landlord </a:t>
            </a:r>
            <a:r>
              <a:rPr lang="en-US" sz="900" dirty="0">
                <a:latin typeface="Century Gothic" panose="020B0502020202020204" pitchFamily="34" charset="0"/>
              </a:rPr>
              <a:t>lists property on multiple digital platforms at once (e.g. Domain and RealEstate.com)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5C98D7AC-F3CB-47FE-AC0E-68F9E90A0471}"/>
              </a:ext>
            </a:extLst>
          </p:cNvPr>
          <p:cNvSpPr/>
          <p:nvPr/>
        </p:nvSpPr>
        <p:spPr>
          <a:xfrm>
            <a:off x="671578" y="1900556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4DFE4E9-4576-4655-A55E-C295152B4C34}"/>
              </a:ext>
            </a:extLst>
          </p:cNvPr>
          <p:cNvSpPr txBox="1"/>
          <p:nvPr/>
        </p:nvSpPr>
        <p:spPr>
          <a:xfrm>
            <a:off x="1160636" y="1929283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>
                <a:latin typeface="Century Gothic" panose="020B0502020202020204" pitchFamily="34" charset="0"/>
              </a:rPr>
              <a:t>Tenant</a:t>
            </a:r>
            <a:r>
              <a:rPr lang="en-US" sz="900" dirty="0">
                <a:latin typeface="Century Gothic" panose="020B0502020202020204" pitchFamily="34" charset="0"/>
              </a:rPr>
              <a:t> finds property online and applies for an in-person </a:t>
            </a:r>
            <a:r>
              <a:rPr lang="en-US" sz="900">
                <a:latin typeface="Century Gothic" panose="020B0502020202020204" pitchFamily="34" charset="0"/>
              </a:rPr>
              <a:t>or remote inspection</a:t>
            </a:r>
            <a:endParaRPr lang="en-US" sz="900" dirty="0">
              <a:latin typeface="Century Gothic" panose="020B0502020202020204" pitchFamily="34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8DAE7770-499D-447A-994E-3BAA430455CA}"/>
              </a:ext>
            </a:extLst>
          </p:cNvPr>
          <p:cNvSpPr/>
          <p:nvPr/>
        </p:nvSpPr>
        <p:spPr>
          <a:xfrm>
            <a:off x="671578" y="2440676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DC06038-B38C-4291-9C3F-69118A794AE4}"/>
              </a:ext>
            </a:extLst>
          </p:cNvPr>
          <p:cNvSpPr txBox="1"/>
          <p:nvPr/>
        </p:nvSpPr>
        <p:spPr>
          <a:xfrm>
            <a:off x="1160636" y="2469403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>
                <a:latin typeface="Century Gothic" panose="020B0502020202020204" pitchFamily="34" charset="0"/>
              </a:rPr>
              <a:t>Gig economy worker </a:t>
            </a:r>
            <a:r>
              <a:rPr lang="en-US" sz="900" dirty="0">
                <a:latin typeface="Century Gothic" panose="020B0502020202020204" pitchFamily="34" charset="0"/>
              </a:rPr>
              <a:t>completes inspection on behalf of landlord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D73054C0-1342-4627-A67C-632F82600BE5}"/>
              </a:ext>
            </a:extLst>
          </p:cNvPr>
          <p:cNvSpPr/>
          <p:nvPr/>
        </p:nvSpPr>
        <p:spPr>
          <a:xfrm>
            <a:off x="671578" y="2980796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4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22EA866-3524-41A4-BE49-B4057B38E9B1}"/>
              </a:ext>
            </a:extLst>
          </p:cNvPr>
          <p:cNvSpPr txBox="1"/>
          <p:nvPr/>
        </p:nvSpPr>
        <p:spPr>
          <a:xfrm>
            <a:off x="1160636" y="3078773"/>
            <a:ext cx="2942338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>
                <a:latin typeface="Century Gothic" panose="020B0502020202020204" pitchFamily="34" charset="0"/>
              </a:rPr>
              <a:t>Tenant</a:t>
            </a:r>
            <a:r>
              <a:rPr lang="en-US" sz="900" dirty="0">
                <a:latin typeface="Century Gothic" panose="020B0502020202020204" pitchFamily="34" charset="0"/>
              </a:rPr>
              <a:t> applies to the property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4B047A0A-40F0-41CD-B932-2858B15C7A2C}"/>
              </a:ext>
            </a:extLst>
          </p:cNvPr>
          <p:cNvSpPr/>
          <p:nvPr/>
        </p:nvSpPr>
        <p:spPr>
          <a:xfrm>
            <a:off x="671578" y="3503601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A6B81A2-36A4-4BD3-9C9B-7DCD0DEBC341}"/>
              </a:ext>
            </a:extLst>
          </p:cNvPr>
          <p:cNvSpPr txBox="1"/>
          <p:nvPr/>
        </p:nvSpPr>
        <p:spPr>
          <a:xfrm>
            <a:off x="1160636" y="3532328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 err="1">
                <a:latin typeface="Century Gothic" panose="020B0502020202020204" pitchFamily="34" charset="0"/>
              </a:rPr>
              <a:t>Rentlord</a:t>
            </a:r>
            <a:r>
              <a:rPr lang="en-US" sz="900" dirty="0">
                <a:latin typeface="Century Gothic" panose="020B0502020202020204" pitchFamily="34" charset="0"/>
              </a:rPr>
              <a:t> assesses application on behalf of landlord and provides recommendation</a:t>
            </a:r>
            <a:endParaRPr lang="en-US" sz="900" b="1" dirty="0">
              <a:latin typeface="Century Gothic" panose="020B0502020202020204" pitchFamily="34" charset="0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4B8EFE86-1F27-4FB1-8747-0E3C7868A8A9}"/>
              </a:ext>
            </a:extLst>
          </p:cNvPr>
          <p:cNvSpPr/>
          <p:nvPr/>
        </p:nvSpPr>
        <p:spPr>
          <a:xfrm>
            <a:off x="4752372" y="1331709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1CBB17A-9A08-4E61-A846-CA7F3B3DC75F}"/>
              </a:ext>
            </a:extLst>
          </p:cNvPr>
          <p:cNvSpPr txBox="1"/>
          <p:nvPr/>
        </p:nvSpPr>
        <p:spPr>
          <a:xfrm>
            <a:off x="5241430" y="1360436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>
                <a:latin typeface="Century Gothic" panose="020B0502020202020204" pitchFamily="34" charset="0"/>
              </a:rPr>
              <a:t>Tenant</a:t>
            </a:r>
            <a:r>
              <a:rPr lang="en-US" sz="900" dirty="0">
                <a:latin typeface="Century Gothic" panose="020B0502020202020204" pitchFamily="34" charset="0"/>
              </a:rPr>
              <a:t> raises a maintenance requests through the Rentlord app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71152FFB-2FCB-4422-B4F7-0860B3F603F0}"/>
              </a:ext>
            </a:extLst>
          </p:cNvPr>
          <p:cNvSpPr/>
          <p:nvPr/>
        </p:nvSpPr>
        <p:spPr>
          <a:xfrm>
            <a:off x="4752372" y="1900556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7EF11C3-0357-4726-86F2-E36F744C2C01}"/>
              </a:ext>
            </a:extLst>
          </p:cNvPr>
          <p:cNvSpPr txBox="1"/>
          <p:nvPr/>
        </p:nvSpPr>
        <p:spPr>
          <a:xfrm>
            <a:off x="5241430" y="1929283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>
                <a:latin typeface="Century Gothic" panose="020B0502020202020204" pitchFamily="34" charset="0"/>
              </a:rPr>
              <a:t>Landlord</a:t>
            </a:r>
            <a:r>
              <a:rPr lang="en-US" sz="900" dirty="0">
                <a:latin typeface="Century Gothic" panose="020B0502020202020204" pitchFamily="34" charset="0"/>
              </a:rPr>
              <a:t> views new maintenance requests and requests quotes from a list of preferred suppliers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D5DDBBB9-8615-4705-BBE8-A7DB1076F240}"/>
              </a:ext>
            </a:extLst>
          </p:cNvPr>
          <p:cNvSpPr/>
          <p:nvPr/>
        </p:nvSpPr>
        <p:spPr>
          <a:xfrm>
            <a:off x="4752372" y="2440676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  <a:endParaRPr lang="en-US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60417E3-E0D4-4B29-A013-ECE4F454FB95}"/>
              </a:ext>
            </a:extLst>
          </p:cNvPr>
          <p:cNvSpPr txBox="1"/>
          <p:nvPr/>
        </p:nvSpPr>
        <p:spPr>
          <a:xfrm>
            <a:off x="5241430" y="2469403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>
                <a:latin typeface="Century Gothic" panose="020B0502020202020204" pitchFamily="34" charset="0"/>
              </a:rPr>
              <a:t>Maintenance suppliers</a:t>
            </a:r>
            <a:r>
              <a:rPr lang="en-US" sz="900" dirty="0">
                <a:latin typeface="Century Gothic" panose="020B0502020202020204" pitchFamily="34" charset="0"/>
              </a:rPr>
              <a:t> receive request and returns quotes</a:t>
            </a:r>
          </a:p>
        </p:txBody>
      </p:sp>
      <p:sp>
        <p:nvSpPr>
          <p:cNvPr id="66" name="Star: 5 Points 65">
            <a:extLst>
              <a:ext uri="{FF2B5EF4-FFF2-40B4-BE49-F238E27FC236}">
                <a16:creationId xmlns:a16="http://schemas.microsoft.com/office/drawing/2014/main" id="{DE49E3F9-43CF-4B35-B64F-5FEF43E04921}"/>
              </a:ext>
            </a:extLst>
          </p:cNvPr>
          <p:cNvSpPr/>
          <p:nvPr/>
        </p:nvSpPr>
        <p:spPr>
          <a:xfrm>
            <a:off x="4723085" y="4007755"/>
            <a:ext cx="491207" cy="491207"/>
          </a:xfrm>
          <a:prstGeom prst="star5">
            <a:avLst>
              <a:gd name="adj" fmla="val 28839"/>
              <a:gd name="hf" fmla="val 105146"/>
              <a:gd name="vf" fmla="val 110557"/>
            </a:avLst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$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F197A7F-1D96-4B12-AA85-3AF365D2E12F}"/>
              </a:ext>
            </a:extLst>
          </p:cNvPr>
          <p:cNvSpPr txBox="1"/>
          <p:nvPr/>
        </p:nvSpPr>
        <p:spPr>
          <a:xfrm>
            <a:off x="5241430" y="4120300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 err="1">
                <a:latin typeface="Century Gothic" panose="020B0502020202020204" pitchFamily="34" charset="0"/>
              </a:rPr>
              <a:t>Rentlord</a:t>
            </a:r>
            <a:r>
              <a:rPr lang="en-US" sz="900" dirty="0">
                <a:latin typeface="Century Gothic" panose="020B0502020202020204" pitchFamily="34" charset="0"/>
              </a:rPr>
              <a:t> takes a % commission from the work provided by supplier</a:t>
            </a:r>
          </a:p>
        </p:txBody>
      </p:sp>
      <p:sp>
        <p:nvSpPr>
          <p:cNvPr id="68" name="Star: 5 Points 67">
            <a:extLst>
              <a:ext uri="{FF2B5EF4-FFF2-40B4-BE49-F238E27FC236}">
                <a16:creationId xmlns:a16="http://schemas.microsoft.com/office/drawing/2014/main" id="{60A5A911-AEF7-4AF5-A9F8-2D3E5318756F}"/>
              </a:ext>
            </a:extLst>
          </p:cNvPr>
          <p:cNvSpPr/>
          <p:nvPr/>
        </p:nvSpPr>
        <p:spPr>
          <a:xfrm>
            <a:off x="645521" y="4006896"/>
            <a:ext cx="491207" cy="491207"/>
          </a:xfrm>
          <a:prstGeom prst="star5">
            <a:avLst>
              <a:gd name="adj" fmla="val 28839"/>
              <a:gd name="hf" fmla="val 105146"/>
              <a:gd name="vf" fmla="val 110557"/>
            </a:avLst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$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E0601B38-43D1-442B-B95E-6F8779D1FAEF}"/>
              </a:ext>
            </a:extLst>
          </p:cNvPr>
          <p:cNvSpPr txBox="1"/>
          <p:nvPr/>
        </p:nvSpPr>
        <p:spPr>
          <a:xfrm>
            <a:off x="1163866" y="4119441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 err="1">
                <a:latin typeface="Century Gothic" panose="020B0502020202020204" pitchFamily="34" charset="0"/>
              </a:rPr>
              <a:t>Rentlord</a:t>
            </a:r>
            <a:r>
              <a:rPr lang="en-US" sz="900" dirty="0">
                <a:latin typeface="Century Gothic" panose="020B0502020202020204" pitchFamily="34" charset="0"/>
              </a:rPr>
              <a:t> takes a subscription fee from the landlord to use the platform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7DAFE975-EA79-4810-8D31-E9C6A4EDCB6F}"/>
              </a:ext>
            </a:extLst>
          </p:cNvPr>
          <p:cNvCxnSpPr>
            <a:cxnSpLocks/>
          </p:cNvCxnSpPr>
          <p:nvPr/>
        </p:nvCxnSpPr>
        <p:spPr>
          <a:xfrm>
            <a:off x="427043" y="1360436"/>
            <a:ext cx="0" cy="32319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ECB3E680-D21A-4272-9291-FD8F46C116DD}"/>
              </a:ext>
            </a:extLst>
          </p:cNvPr>
          <p:cNvSpPr/>
          <p:nvPr/>
        </p:nvSpPr>
        <p:spPr>
          <a:xfrm>
            <a:off x="0" y="0"/>
            <a:ext cx="887896" cy="262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/>
              <a:t>Suggested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2BBD6C37-23FE-4527-B59B-07C696A2F533}"/>
              </a:ext>
            </a:extLst>
          </p:cNvPr>
          <p:cNvSpPr/>
          <p:nvPr/>
        </p:nvSpPr>
        <p:spPr>
          <a:xfrm>
            <a:off x="4752372" y="2980796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4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AABFB4A-74A5-4BA4-B48F-4CB0F10C475E}"/>
              </a:ext>
            </a:extLst>
          </p:cNvPr>
          <p:cNvSpPr txBox="1"/>
          <p:nvPr/>
        </p:nvSpPr>
        <p:spPr>
          <a:xfrm>
            <a:off x="5241430" y="3009523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>
                <a:latin typeface="Century Gothic" panose="020B0502020202020204" pitchFamily="34" charset="0"/>
              </a:rPr>
              <a:t>Landlord</a:t>
            </a:r>
            <a:r>
              <a:rPr lang="en-US" sz="900" dirty="0">
                <a:latin typeface="Century Gothic" panose="020B0502020202020204" pitchFamily="34" charset="0"/>
              </a:rPr>
              <a:t> approves supplier and connects supplier and tenant together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0310B984-F6E8-4BC4-86A2-944D656CA29E}"/>
              </a:ext>
            </a:extLst>
          </p:cNvPr>
          <p:cNvSpPr/>
          <p:nvPr/>
        </p:nvSpPr>
        <p:spPr>
          <a:xfrm>
            <a:off x="4752372" y="3503601"/>
            <a:ext cx="432635" cy="426786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E7674DD-A7BA-469E-9BF7-1D381B0BC4FE}"/>
              </a:ext>
            </a:extLst>
          </p:cNvPr>
          <p:cNvSpPr txBox="1"/>
          <p:nvPr/>
        </p:nvSpPr>
        <p:spPr>
          <a:xfrm>
            <a:off x="5241430" y="3532328"/>
            <a:ext cx="294233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 dirty="0">
                <a:latin typeface="Century Gothic" panose="020B0502020202020204" pitchFamily="34" charset="0"/>
              </a:rPr>
              <a:t>Maintenance supplier </a:t>
            </a:r>
            <a:r>
              <a:rPr lang="en-US" sz="900" dirty="0">
                <a:latin typeface="Century Gothic" panose="020B0502020202020204" pitchFamily="34" charset="0"/>
              </a:rPr>
              <a:t>and </a:t>
            </a:r>
            <a:r>
              <a:rPr lang="en-US" sz="900" b="1" dirty="0">
                <a:latin typeface="Century Gothic" panose="020B0502020202020204" pitchFamily="34" charset="0"/>
              </a:rPr>
              <a:t>tenant</a:t>
            </a:r>
            <a:r>
              <a:rPr lang="en-US" sz="900" dirty="0">
                <a:latin typeface="Century Gothic" panose="020B0502020202020204" pitchFamily="34" charset="0"/>
              </a:rPr>
              <a:t> organize time to complete work</a:t>
            </a:r>
            <a:endParaRPr lang="en-US" sz="900" b="1" dirty="0">
              <a:latin typeface="Century Gothic" panose="020B0502020202020204" pitchFamily="34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E279F733-BA0D-46A2-88B5-129DF64A8F2E}"/>
              </a:ext>
            </a:extLst>
          </p:cNvPr>
          <p:cNvCxnSpPr>
            <a:cxnSpLocks/>
          </p:cNvCxnSpPr>
          <p:nvPr/>
        </p:nvCxnSpPr>
        <p:spPr>
          <a:xfrm>
            <a:off x="4572000" y="1360436"/>
            <a:ext cx="0" cy="32319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F57AF2BA-3A6B-4F02-A008-32C72D4C5D03}"/>
              </a:ext>
            </a:extLst>
          </p:cNvPr>
          <p:cNvSpPr/>
          <p:nvPr/>
        </p:nvSpPr>
        <p:spPr>
          <a:xfrm>
            <a:off x="9204425" y="-388"/>
            <a:ext cx="2192177" cy="5143964"/>
          </a:xfrm>
          <a:prstGeom prst="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900" b="1" dirty="0">
                <a:solidFill>
                  <a:schemeClr val="tx1"/>
                </a:solidFill>
              </a:rPr>
              <a:t>Voiceover</a:t>
            </a:r>
          </a:p>
          <a:p>
            <a:pPr marL="228600" indent="-228600">
              <a:buAutoNum type="arabicPeriod"/>
            </a:pPr>
            <a:r>
              <a:rPr lang="en-AU" sz="900" dirty="0">
                <a:solidFill>
                  <a:schemeClr val="tx1"/>
                </a:solidFill>
              </a:rPr>
              <a:t>Shown here are the high-level journeys for the set up, ongoing payments and maintenance of a property on behalf of a landlord. </a:t>
            </a:r>
          </a:p>
          <a:p>
            <a:pPr marL="228600" indent="-228600">
              <a:buAutoNum type="arabicPeriod"/>
            </a:pPr>
            <a:r>
              <a:rPr lang="en-AU" sz="900" dirty="0">
                <a:solidFill>
                  <a:schemeClr val="tx1"/>
                </a:solidFill>
              </a:rPr>
              <a:t>For set up, we provide a low-touch experience, using existing property listing platforms to attract potential tenants and a gig-economy workforce to perform house inspections on request. After submitting their application, Rentlord reviews and makes a recommendation on the most suitable tenant. </a:t>
            </a:r>
          </a:p>
          <a:p>
            <a:pPr marL="228600" indent="-228600">
              <a:buAutoNum type="arabicPeriod"/>
            </a:pPr>
            <a:r>
              <a:rPr lang="en-AU" sz="900" dirty="0">
                <a:solidFill>
                  <a:schemeClr val="tx1"/>
                </a:solidFill>
              </a:rPr>
              <a:t>The ongoing use of Rentlord as a platform (including smart payments and administration, request management and listing support) commands a subscription fee from the landlord, which can be either a monthly flat fee, or a % based on the rent amount </a:t>
            </a:r>
          </a:p>
          <a:p>
            <a:pPr marL="228600" indent="-228600">
              <a:buAutoNum type="arabicPeriod"/>
            </a:pPr>
            <a:r>
              <a:rPr lang="en-AU" sz="900" dirty="0">
                <a:solidFill>
                  <a:schemeClr val="tx1"/>
                </a:solidFill>
              </a:rPr>
              <a:t>For maintenance requests, we connect landlords with a curated selection of relevant providers, and allow the landlord to make the final choice on who to use. </a:t>
            </a:r>
          </a:p>
          <a:p>
            <a:pPr marL="228600" indent="-228600">
              <a:buAutoNum type="arabicPeriod"/>
            </a:pPr>
            <a:r>
              <a:rPr lang="en-AU" sz="900" dirty="0">
                <a:solidFill>
                  <a:schemeClr val="tx1"/>
                </a:solidFill>
              </a:rPr>
              <a:t>We then take a % commission based on the work provided by the supplier</a:t>
            </a:r>
          </a:p>
          <a:p>
            <a:pPr marL="228600" indent="-228600">
              <a:buAutoNum type="arabicPeriod"/>
            </a:pPr>
            <a:endParaRPr lang="en-AU" sz="900" dirty="0">
              <a:solidFill>
                <a:schemeClr val="tx1"/>
              </a:solidFill>
            </a:endParaRPr>
          </a:p>
          <a:p>
            <a:pPr marL="228600" indent="-228600">
              <a:buAutoNum type="arabicPeriod"/>
            </a:pPr>
            <a:endParaRPr lang="en-AU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20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_pou.8C9tlEXvw_YnA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h4N5MUdBgxRIdy.28W1A"/>
</p:tagLst>
</file>

<file path=ppt/theme/theme1.xml><?xml version="1.0" encoding="utf-8"?>
<a:theme xmlns:a="http://schemas.openxmlformats.org/drawingml/2006/main" name="Office Theme">
  <a:themeElements>
    <a:clrScheme name="Sub Zero">
      <a:dk1>
        <a:srgbClr val="000000"/>
      </a:dk1>
      <a:lt1>
        <a:srgbClr val="FFFFFF"/>
      </a:lt1>
      <a:dk2>
        <a:srgbClr val="0D142C"/>
      </a:dk2>
      <a:lt2>
        <a:srgbClr val="CEE2E6"/>
      </a:lt2>
      <a:accent1>
        <a:srgbClr val="233A5D"/>
      </a:accent1>
      <a:accent2>
        <a:srgbClr val="004CA8"/>
      </a:accent2>
      <a:accent3>
        <a:srgbClr val="635FEC"/>
      </a:accent3>
      <a:accent4>
        <a:srgbClr val="3C7BA9"/>
      </a:accent4>
      <a:accent5>
        <a:srgbClr val="81EFF5"/>
      </a:accent5>
      <a:accent6>
        <a:srgbClr val="81EF97"/>
      </a:accent6>
      <a:hlink>
        <a:srgbClr val="FBC651"/>
      </a:hlink>
      <a:folHlink>
        <a:srgbClr val="9F671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Sub Zero">
      <a:dk1>
        <a:srgbClr val="000000"/>
      </a:dk1>
      <a:lt1>
        <a:srgbClr val="FFFFFF"/>
      </a:lt1>
      <a:dk2>
        <a:srgbClr val="0D142C"/>
      </a:dk2>
      <a:lt2>
        <a:srgbClr val="CEE2E6"/>
      </a:lt2>
      <a:accent1>
        <a:srgbClr val="233A5D"/>
      </a:accent1>
      <a:accent2>
        <a:srgbClr val="004CA8"/>
      </a:accent2>
      <a:accent3>
        <a:srgbClr val="635FEC"/>
      </a:accent3>
      <a:accent4>
        <a:srgbClr val="3C7BA9"/>
      </a:accent4>
      <a:accent5>
        <a:srgbClr val="81EFF5"/>
      </a:accent5>
      <a:accent6>
        <a:srgbClr val="81EF97"/>
      </a:accent6>
      <a:hlink>
        <a:srgbClr val="FBC651"/>
      </a:hlink>
      <a:folHlink>
        <a:srgbClr val="9F671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71</Words>
  <Application>Microsoft Macintosh PowerPoint</Application>
  <PresentationFormat>On-screen Show (16:9)</PresentationFormat>
  <Paragraphs>147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entury Gothic</vt:lpstr>
      <vt:lpstr>Office Theme</vt:lpstr>
      <vt:lpstr>1_Office Theme</vt:lpstr>
      <vt:lpstr>think-cell Slide</vt:lpstr>
      <vt:lpstr>PowerPoint Presentation</vt:lpstr>
      <vt:lpstr>The work we have done so far</vt:lpstr>
      <vt:lpstr>PowerPoint Presentation</vt:lpstr>
      <vt:lpstr>Frictions</vt:lpstr>
      <vt:lpstr>PowerPoint Presentation</vt:lpstr>
      <vt:lpstr>PowerPoint Presentation</vt:lpstr>
      <vt:lpstr>Market Opportunity</vt:lpstr>
      <vt:lpstr>Competitive landscape</vt:lpstr>
      <vt:lpstr>How it wor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NO  - NOT TO DESIGN -  The following slides are for Organise my Life</dc:title>
  <dc:creator>Brown, Hugh</dc:creator>
  <cp:lastModifiedBy>Isabelle Chamberlain</cp:lastModifiedBy>
  <cp:revision>87</cp:revision>
  <dcterms:modified xsi:type="dcterms:W3CDTF">2020-11-25T00:36:44Z</dcterms:modified>
</cp:coreProperties>
</file>